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02" r:id="rId4"/>
  </p:sldMasterIdLst>
  <p:notesMasterIdLst>
    <p:notesMasterId r:id="rId14"/>
  </p:notesMasterIdLst>
  <p:handoutMasterIdLst>
    <p:handoutMasterId r:id="rId15"/>
  </p:handoutMasterIdLst>
  <p:sldIdLst>
    <p:sldId id="622" r:id="rId5"/>
    <p:sldId id="581" r:id="rId6"/>
    <p:sldId id="639" r:id="rId7"/>
    <p:sldId id="641" r:id="rId8"/>
    <p:sldId id="598" r:id="rId9"/>
    <p:sldId id="643" r:id="rId10"/>
    <p:sldId id="642" r:id="rId11"/>
    <p:sldId id="539" r:id="rId12"/>
    <p:sldId id="621" r:id="rId13"/>
  </p:sldIdLst>
  <p:sldSz cx="9906000" cy="6858000" type="A4"/>
  <p:notesSz cx="6797675" cy="9926638"/>
  <p:custDataLst>
    <p:tags r:id="rId16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5pPr>
    <a:lvl6pPr marL="22860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6pPr>
    <a:lvl7pPr marL="27432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7pPr>
    <a:lvl8pPr marL="32004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8pPr>
    <a:lvl9pPr marL="36576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752" userDrawn="1">
          <p15:clr>
            <a:srgbClr val="A4A3A4"/>
          </p15:clr>
        </p15:guide>
        <p15:guide id="3" pos="6227" userDrawn="1">
          <p15:clr>
            <a:srgbClr val="A4A3A4"/>
          </p15:clr>
        </p15:guide>
        <p15:guide id="7" orient="horz" pos="1366" userDrawn="1">
          <p15:clr>
            <a:srgbClr val="A4A3A4"/>
          </p15:clr>
        </p15:guide>
        <p15:guide id="8" orient="horz" pos="34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009900"/>
    <a:srgbClr val="161E3E"/>
    <a:srgbClr val="FFF796"/>
    <a:srgbClr val="C6CDEB"/>
    <a:srgbClr val="09BAAD"/>
    <a:srgbClr val="8AD4EB"/>
    <a:srgbClr val="182044"/>
    <a:srgbClr val="202C5C"/>
    <a:srgbClr val="B3D7F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2898EF-2D25-40F5-B0FA-55D6DBAA7B11}" v="296" dt="2023-11-13T05:33:25.8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1570" y="48"/>
      </p:cViewPr>
      <p:guideLst>
        <p:guide pos="1752"/>
        <p:guide pos="6227"/>
        <p:guide orient="horz" pos="1366"/>
        <p:guide orient="horz" pos="343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raj sinya" userId="9f99502c73333c07" providerId="LiveId" clId="{1B2898EF-2D25-40F5-B0FA-55D6DBAA7B11}"/>
    <pc:docChg chg="undo custSel addSld delSld modSld sldOrd">
      <pc:chgData name="miraj sinya" userId="9f99502c73333c07" providerId="LiveId" clId="{1B2898EF-2D25-40F5-B0FA-55D6DBAA7B11}" dt="2023-11-13T05:36:31.767" v="3658" actId="20577"/>
      <pc:docMkLst>
        <pc:docMk/>
      </pc:docMkLst>
      <pc:sldChg chg="modSp mod">
        <pc:chgData name="miraj sinya" userId="9f99502c73333c07" providerId="LiveId" clId="{1B2898EF-2D25-40F5-B0FA-55D6DBAA7B11}" dt="2023-11-13T05:36:31.767" v="3658" actId="20577"/>
        <pc:sldMkLst>
          <pc:docMk/>
          <pc:sldMk cId="3394563635" sldId="581"/>
        </pc:sldMkLst>
        <pc:spChg chg="mod">
          <ac:chgData name="miraj sinya" userId="9f99502c73333c07" providerId="LiveId" clId="{1B2898EF-2D25-40F5-B0FA-55D6DBAA7B11}" dt="2023-11-13T05:36:31.767" v="3658" actId="20577"/>
          <ac:spMkLst>
            <pc:docMk/>
            <pc:sldMk cId="3394563635" sldId="581"/>
            <ac:spMk id="2" creationId="{B2FAEFB0-D429-0836-F9FE-61F4296114BE}"/>
          </ac:spMkLst>
        </pc:spChg>
      </pc:sldChg>
      <pc:sldChg chg="modSp add del mod ord">
        <pc:chgData name="miraj sinya" userId="9f99502c73333c07" providerId="LiveId" clId="{1B2898EF-2D25-40F5-B0FA-55D6DBAA7B11}" dt="2023-11-13T05:36:15.438" v="3651"/>
        <pc:sldMkLst>
          <pc:docMk/>
          <pc:sldMk cId="2270713310" sldId="598"/>
        </pc:sldMkLst>
        <pc:spChg chg="mod">
          <ac:chgData name="miraj sinya" userId="9f99502c73333c07" providerId="LiveId" clId="{1B2898EF-2D25-40F5-B0FA-55D6DBAA7B11}" dt="2023-11-13T05:36:12.111" v="3649"/>
          <ac:spMkLst>
            <pc:docMk/>
            <pc:sldMk cId="2270713310" sldId="598"/>
            <ac:spMk id="2" creationId="{09ADDBD3-7A20-6F38-ADFC-203FE1B871B0}"/>
          </ac:spMkLst>
        </pc:spChg>
      </pc:sldChg>
      <pc:sldChg chg="add del">
        <pc:chgData name="miraj sinya" userId="9f99502c73333c07" providerId="LiveId" clId="{1B2898EF-2D25-40F5-B0FA-55D6DBAA7B11}" dt="2023-11-13T05:16:30.557" v="3114" actId="47"/>
        <pc:sldMkLst>
          <pc:docMk/>
          <pc:sldMk cId="4008453649" sldId="604"/>
        </pc:sldMkLst>
      </pc:sldChg>
      <pc:sldChg chg="add del">
        <pc:chgData name="miraj sinya" userId="9f99502c73333c07" providerId="LiveId" clId="{1B2898EF-2D25-40F5-B0FA-55D6DBAA7B11}" dt="2023-11-13T05:16:30.557" v="3114" actId="47"/>
        <pc:sldMkLst>
          <pc:docMk/>
          <pc:sldMk cId="1556697206" sldId="607"/>
        </pc:sldMkLst>
      </pc:sldChg>
      <pc:sldChg chg="del">
        <pc:chgData name="miraj sinya" userId="9f99502c73333c07" providerId="LiveId" clId="{1B2898EF-2D25-40F5-B0FA-55D6DBAA7B11}" dt="2023-11-12T23:57:08.950" v="0" actId="47"/>
        <pc:sldMkLst>
          <pc:docMk/>
          <pc:sldMk cId="634381215" sldId="608"/>
        </pc:sldMkLst>
      </pc:sldChg>
      <pc:sldChg chg="del">
        <pc:chgData name="miraj sinya" userId="9f99502c73333c07" providerId="LiveId" clId="{1B2898EF-2D25-40F5-B0FA-55D6DBAA7B11}" dt="2023-11-12T23:57:09.948" v="1" actId="47"/>
        <pc:sldMkLst>
          <pc:docMk/>
          <pc:sldMk cId="2265658142" sldId="609"/>
        </pc:sldMkLst>
      </pc:sldChg>
      <pc:sldChg chg="del">
        <pc:chgData name="miraj sinya" userId="9f99502c73333c07" providerId="LiveId" clId="{1B2898EF-2D25-40F5-B0FA-55D6DBAA7B11}" dt="2023-11-12T23:57:10.885" v="2" actId="47"/>
        <pc:sldMkLst>
          <pc:docMk/>
          <pc:sldMk cId="3629486408" sldId="611"/>
        </pc:sldMkLst>
      </pc:sldChg>
      <pc:sldChg chg="add del">
        <pc:chgData name="miraj sinya" userId="9f99502c73333c07" providerId="LiveId" clId="{1B2898EF-2D25-40F5-B0FA-55D6DBAA7B11}" dt="2023-11-13T05:16:30.557" v="3114" actId="47"/>
        <pc:sldMkLst>
          <pc:docMk/>
          <pc:sldMk cId="878837709" sldId="612"/>
        </pc:sldMkLst>
      </pc:sldChg>
      <pc:sldChg chg="add del">
        <pc:chgData name="miraj sinya" userId="9f99502c73333c07" providerId="LiveId" clId="{1B2898EF-2D25-40F5-B0FA-55D6DBAA7B11}" dt="2023-11-13T05:16:30.557" v="3114" actId="47"/>
        <pc:sldMkLst>
          <pc:docMk/>
          <pc:sldMk cId="2279341814" sldId="614"/>
        </pc:sldMkLst>
      </pc:sldChg>
      <pc:sldChg chg="del">
        <pc:chgData name="miraj sinya" userId="9f99502c73333c07" providerId="LiveId" clId="{1B2898EF-2D25-40F5-B0FA-55D6DBAA7B11}" dt="2023-11-13T05:15:28.635" v="3094" actId="47"/>
        <pc:sldMkLst>
          <pc:docMk/>
          <pc:sldMk cId="3226856182" sldId="618"/>
        </pc:sldMkLst>
      </pc:sldChg>
      <pc:sldChg chg="del">
        <pc:chgData name="miraj sinya" userId="9f99502c73333c07" providerId="LiveId" clId="{1B2898EF-2D25-40F5-B0FA-55D6DBAA7B11}" dt="2023-11-13T05:15:32.964" v="3098" actId="47"/>
        <pc:sldMkLst>
          <pc:docMk/>
          <pc:sldMk cId="2252611571" sldId="619"/>
        </pc:sldMkLst>
      </pc:sldChg>
      <pc:sldChg chg="modSp add del mod">
        <pc:chgData name="miraj sinya" userId="9f99502c73333c07" providerId="LiveId" clId="{1B2898EF-2D25-40F5-B0FA-55D6DBAA7B11}" dt="2023-11-13T05:23:12.482" v="3297" actId="400"/>
        <pc:sldMkLst>
          <pc:docMk/>
          <pc:sldMk cId="1262739640" sldId="621"/>
        </pc:sldMkLst>
        <pc:spChg chg="mod">
          <ac:chgData name="miraj sinya" userId="9f99502c73333c07" providerId="LiveId" clId="{1B2898EF-2D25-40F5-B0FA-55D6DBAA7B11}" dt="2023-11-13T05:23:12.482" v="3297" actId="400"/>
          <ac:spMkLst>
            <pc:docMk/>
            <pc:sldMk cId="1262739640" sldId="621"/>
            <ac:spMk id="5" creationId="{8C2A81C2-CB9D-5E0D-1B45-AC1250F47E64}"/>
          </ac:spMkLst>
        </pc:spChg>
      </pc:sldChg>
      <pc:sldChg chg="modSp mod">
        <pc:chgData name="miraj sinya" userId="9f99502c73333c07" providerId="LiveId" clId="{1B2898EF-2D25-40F5-B0FA-55D6DBAA7B11}" dt="2023-11-13T00:03:29.766" v="242" actId="400"/>
        <pc:sldMkLst>
          <pc:docMk/>
          <pc:sldMk cId="2705744719" sldId="622"/>
        </pc:sldMkLst>
        <pc:spChg chg="mod">
          <ac:chgData name="miraj sinya" userId="9f99502c73333c07" providerId="LiveId" clId="{1B2898EF-2D25-40F5-B0FA-55D6DBAA7B11}" dt="2023-11-13T00:00:55.334" v="79" actId="1076"/>
          <ac:spMkLst>
            <pc:docMk/>
            <pc:sldMk cId="2705744719" sldId="622"/>
            <ac:spMk id="2" creationId="{6F01F978-CE85-1377-6EDE-D5FEBD8CE2D3}"/>
          </ac:spMkLst>
        </pc:spChg>
        <pc:spChg chg="mod">
          <ac:chgData name="miraj sinya" userId="9f99502c73333c07" providerId="LiveId" clId="{1B2898EF-2D25-40F5-B0FA-55D6DBAA7B11}" dt="2023-11-13T00:00:53.043" v="78" actId="1076"/>
          <ac:spMkLst>
            <pc:docMk/>
            <pc:sldMk cId="2705744719" sldId="622"/>
            <ac:spMk id="3" creationId="{D9C9ACA2-A3AE-D6EF-CC33-B149455093C7}"/>
          </ac:spMkLst>
        </pc:spChg>
        <pc:spChg chg="mod">
          <ac:chgData name="miraj sinya" userId="9f99502c73333c07" providerId="LiveId" clId="{1B2898EF-2D25-40F5-B0FA-55D6DBAA7B11}" dt="2023-11-13T00:03:29.766" v="242" actId="400"/>
          <ac:spMkLst>
            <pc:docMk/>
            <pc:sldMk cId="2705744719" sldId="622"/>
            <ac:spMk id="7" creationId="{A29DD16F-C434-F01B-B19D-AAD93C5C2D57}"/>
          </ac:spMkLst>
        </pc:spChg>
        <pc:spChg chg="mod">
          <ac:chgData name="miraj sinya" userId="9f99502c73333c07" providerId="LiveId" clId="{1B2898EF-2D25-40F5-B0FA-55D6DBAA7B11}" dt="2023-11-13T00:02:01.039" v="144" actId="20577"/>
          <ac:spMkLst>
            <pc:docMk/>
            <pc:sldMk cId="2705744719" sldId="622"/>
            <ac:spMk id="12" creationId="{04D82B57-FC93-F808-D711-41D7C57716AB}"/>
          </ac:spMkLst>
        </pc:spChg>
      </pc:sldChg>
      <pc:sldChg chg="del">
        <pc:chgData name="miraj sinya" userId="9f99502c73333c07" providerId="LiveId" clId="{1B2898EF-2D25-40F5-B0FA-55D6DBAA7B11}" dt="2023-11-13T05:15:33.544" v="3099" actId="47"/>
        <pc:sldMkLst>
          <pc:docMk/>
          <pc:sldMk cId="286777989" sldId="623"/>
        </pc:sldMkLst>
      </pc:sldChg>
      <pc:sldChg chg="del">
        <pc:chgData name="miraj sinya" userId="9f99502c73333c07" providerId="LiveId" clId="{1B2898EF-2D25-40F5-B0FA-55D6DBAA7B11}" dt="2023-11-13T05:15:25.783" v="3093" actId="47"/>
        <pc:sldMkLst>
          <pc:docMk/>
          <pc:sldMk cId="4028579692" sldId="624"/>
        </pc:sldMkLst>
      </pc:sldChg>
      <pc:sldChg chg="del">
        <pc:chgData name="miraj sinya" userId="9f99502c73333c07" providerId="LiveId" clId="{1B2898EF-2D25-40F5-B0FA-55D6DBAA7B11}" dt="2023-11-13T05:15:25.053" v="3092" actId="47"/>
        <pc:sldMkLst>
          <pc:docMk/>
          <pc:sldMk cId="1739270523" sldId="625"/>
        </pc:sldMkLst>
      </pc:sldChg>
      <pc:sldChg chg="del">
        <pc:chgData name="miraj sinya" userId="9f99502c73333c07" providerId="LiveId" clId="{1B2898EF-2D25-40F5-B0FA-55D6DBAA7B11}" dt="2023-11-13T05:15:23.443" v="3091" actId="47"/>
        <pc:sldMkLst>
          <pc:docMk/>
          <pc:sldMk cId="3790078528" sldId="627"/>
        </pc:sldMkLst>
      </pc:sldChg>
      <pc:sldChg chg="del">
        <pc:chgData name="miraj sinya" userId="9f99502c73333c07" providerId="LiveId" clId="{1B2898EF-2D25-40F5-B0FA-55D6DBAA7B11}" dt="2023-11-13T05:15:32.155" v="3097" actId="47"/>
        <pc:sldMkLst>
          <pc:docMk/>
          <pc:sldMk cId="3789486591" sldId="633"/>
        </pc:sldMkLst>
      </pc:sldChg>
      <pc:sldChg chg="del">
        <pc:chgData name="miraj sinya" userId="9f99502c73333c07" providerId="LiveId" clId="{1B2898EF-2D25-40F5-B0FA-55D6DBAA7B11}" dt="2023-11-13T05:15:30.499" v="3095" actId="47"/>
        <pc:sldMkLst>
          <pc:docMk/>
          <pc:sldMk cId="3625445693" sldId="634"/>
        </pc:sldMkLst>
      </pc:sldChg>
      <pc:sldChg chg="del">
        <pc:chgData name="miraj sinya" userId="9f99502c73333c07" providerId="LiveId" clId="{1B2898EF-2D25-40F5-B0FA-55D6DBAA7B11}" dt="2023-11-13T05:15:31.248" v="3096" actId="47"/>
        <pc:sldMkLst>
          <pc:docMk/>
          <pc:sldMk cId="1322459214" sldId="637"/>
        </pc:sldMkLst>
      </pc:sldChg>
      <pc:sldChg chg="del">
        <pc:chgData name="miraj sinya" userId="9f99502c73333c07" providerId="LiveId" clId="{1B2898EF-2D25-40F5-B0FA-55D6DBAA7B11}" dt="2023-11-13T05:15:22.697" v="3090" actId="47"/>
        <pc:sldMkLst>
          <pc:docMk/>
          <pc:sldMk cId="1532578159" sldId="638"/>
        </pc:sldMkLst>
      </pc:sldChg>
      <pc:sldChg chg="addSp delSp modSp new mod">
        <pc:chgData name="miraj sinya" userId="9f99502c73333c07" providerId="LiveId" clId="{1B2898EF-2D25-40F5-B0FA-55D6DBAA7B11}" dt="2023-11-13T05:35:29.859" v="3646" actId="207"/>
        <pc:sldMkLst>
          <pc:docMk/>
          <pc:sldMk cId="1184884871" sldId="639"/>
        </pc:sldMkLst>
        <pc:spChg chg="mod">
          <ac:chgData name="miraj sinya" userId="9f99502c73333c07" providerId="LiveId" clId="{1B2898EF-2D25-40F5-B0FA-55D6DBAA7B11}" dt="2023-11-13T03:51:59.565" v="1658" actId="6549"/>
          <ac:spMkLst>
            <pc:docMk/>
            <pc:sldMk cId="1184884871" sldId="639"/>
            <ac:spMk id="2" creationId="{2BD9482C-9809-78C2-DBBB-630F5596988E}"/>
          </ac:spMkLst>
        </pc:spChg>
        <pc:spChg chg="add mod">
          <ac:chgData name="miraj sinya" userId="9f99502c73333c07" providerId="LiveId" clId="{1B2898EF-2D25-40F5-B0FA-55D6DBAA7B11}" dt="2023-11-13T03:30:00.881" v="1436" actId="404"/>
          <ac:spMkLst>
            <pc:docMk/>
            <pc:sldMk cId="1184884871" sldId="639"/>
            <ac:spMk id="3" creationId="{B86EE26B-A320-1117-C533-672582AFE7DA}"/>
          </ac:spMkLst>
        </pc:spChg>
        <pc:spChg chg="mod topLvl">
          <ac:chgData name="miraj sinya" userId="9f99502c73333c07" providerId="LiveId" clId="{1B2898EF-2D25-40F5-B0FA-55D6DBAA7B11}" dt="2023-11-13T05:11:49.651" v="3061" actId="165"/>
          <ac:spMkLst>
            <pc:docMk/>
            <pc:sldMk cId="1184884871" sldId="639"/>
            <ac:spMk id="18" creationId="{4CDD7EDA-8C8C-AD0F-5282-86227D3C00F5}"/>
          </ac:spMkLst>
        </pc:spChg>
        <pc:spChg chg="mod ord topLvl">
          <ac:chgData name="miraj sinya" userId="9f99502c73333c07" providerId="LiveId" clId="{1B2898EF-2D25-40F5-B0FA-55D6DBAA7B11}" dt="2023-11-13T05:11:49.651" v="3061" actId="165"/>
          <ac:spMkLst>
            <pc:docMk/>
            <pc:sldMk cId="1184884871" sldId="639"/>
            <ac:spMk id="19" creationId="{FB22A53D-A04E-4953-5B43-167D0D623473}"/>
          </ac:spMkLst>
        </pc:spChg>
        <pc:spChg chg="del mod topLvl">
          <ac:chgData name="miraj sinya" userId="9f99502c73333c07" providerId="LiveId" clId="{1B2898EF-2D25-40F5-B0FA-55D6DBAA7B11}" dt="2023-11-13T00:24:24.358" v="488" actId="478"/>
          <ac:spMkLst>
            <pc:docMk/>
            <pc:sldMk cId="1184884871" sldId="639"/>
            <ac:spMk id="21" creationId="{C0803D98-1DF9-CC24-344C-E496171D5A11}"/>
          </ac:spMkLst>
        </pc:spChg>
        <pc:spChg chg="del mod topLvl">
          <ac:chgData name="miraj sinya" userId="9f99502c73333c07" providerId="LiveId" clId="{1B2898EF-2D25-40F5-B0FA-55D6DBAA7B11}" dt="2023-11-13T00:24:22.492" v="487" actId="478"/>
          <ac:spMkLst>
            <pc:docMk/>
            <pc:sldMk cId="1184884871" sldId="639"/>
            <ac:spMk id="22" creationId="{F9FC01F3-5DBE-BF2F-3B9D-612BD37BD42A}"/>
          </ac:spMkLst>
        </pc:spChg>
        <pc:spChg chg="del mod topLvl">
          <ac:chgData name="miraj sinya" userId="9f99502c73333c07" providerId="LiveId" clId="{1B2898EF-2D25-40F5-B0FA-55D6DBAA7B11}" dt="2023-11-13T00:24:15.014" v="485" actId="478"/>
          <ac:spMkLst>
            <pc:docMk/>
            <pc:sldMk cId="1184884871" sldId="639"/>
            <ac:spMk id="23" creationId="{2255016D-FA10-A3B5-4756-9C19107C4536}"/>
          </ac:spMkLst>
        </pc:spChg>
        <pc:spChg chg="del mod topLvl">
          <ac:chgData name="miraj sinya" userId="9f99502c73333c07" providerId="LiveId" clId="{1B2898EF-2D25-40F5-B0FA-55D6DBAA7B11}" dt="2023-11-13T00:24:15.014" v="485" actId="478"/>
          <ac:spMkLst>
            <pc:docMk/>
            <pc:sldMk cId="1184884871" sldId="639"/>
            <ac:spMk id="24" creationId="{06BF219B-8D1E-9BAC-8D5B-8257AADA63B7}"/>
          </ac:spMkLst>
        </pc:spChg>
        <pc:spChg chg="del mod topLvl">
          <ac:chgData name="miraj sinya" userId="9f99502c73333c07" providerId="LiveId" clId="{1B2898EF-2D25-40F5-B0FA-55D6DBAA7B11}" dt="2023-11-13T00:24:15.014" v="485" actId="478"/>
          <ac:spMkLst>
            <pc:docMk/>
            <pc:sldMk cId="1184884871" sldId="639"/>
            <ac:spMk id="25" creationId="{FE19F466-67D7-344B-4BC6-2E135D578136}"/>
          </ac:spMkLst>
        </pc:spChg>
        <pc:spChg chg="del mod topLvl">
          <ac:chgData name="miraj sinya" userId="9f99502c73333c07" providerId="LiveId" clId="{1B2898EF-2D25-40F5-B0FA-55D6DBAA7B11}" dt="2023-11-13T00:24:15.014" v="485" actId="478"/>
          <ac:spMkLst>
            <pc:docMk/>
            <pc:sldMk cId="1184884871" sldId="639"/>
            <ac:spMk id="26" creationId="{FC04F0CD-AF27-24D8-3E15-A23A7BA88C80}"/>
          </ac:spMkLst>
        </pc:spChg>
        <pc:spChg chg="del mod topLvl">
          <ac:chgData name="miraj sinya" userId="9f99502c73333c07" providerId="LiveId" clId="{1B2898EF-2D25-40F5-B0FA-55D6DBAA7B11}" dt="2023-11-13T00:23:49.273" v="483" actId="478"/>
          <ac:spMkLst>
            <pc:docMk/>
            <pc:sldMk cId="1184884871" sldId="639"/>
            <ac:spMk id="27" creationId="{4B7D1D81-B082-F85E-B8DF-A87AEC53DE50}"/>
          </ac:spMkLst>
        </pc:spChg>
        <pc:spChg chg="del mod topLvl">
          <ac:chgData name="miraj sinya" userId="9f99502c73333c07" providerId="LiveId" clId="{1B2898EF-2D25-40F5-B0FA-55D6DBAA7B11}" dt="2023-11-13T00:24:15.014" v="485" actId="478"/>
          <ac:spMkLst>
            <pc:docMk/>
            <pc:sldMk cId="1184884871" sldId="639"/>
            <ac:spMk id="28" creationId="{2C894528-B932-5811-C7B4-B1C3A8FEC555}"/>
          </ac:spMkLst>
        </pc:spChg>
        <pc:spChg chg="del mod topLvl">
          <ac:chgData name="miraj sinya" userId="9f99502c73333c07" providerId="LiveId" clId="{1B2898EF-2D25-40F5-B0FA-55D6DBAA7B11}" dt="2023-11-13T03:21:06.544" v="1255" actId="478"/>
          <ac:spMkLst>
            <pc:docMk/>
            <pc:sldMk cId="1184884871" sldId="639"/>
            <ac:spMk id="40" creationId="{EABBFF8A-53D4-3454-4257-3DE9AED84EE2}"/>
          </ac:spMkLst>
        </pc:spChg>
        <pc:spChg chg="del mod topLvl">
          <ac:chgData name="miraj sinya" userId="9f99502c73333c07" providerId="LiveId" clId="{1B2898EF-2D25-40F5-B0FA-55D6DBAA7B11}" dt="2023-11-13T03:21:06.544" v="1255" actId="478"/>
          <ac:spMkLst>
            <pc:docMk/>
            <pc:sldMk cId="1184884871" sldId="639"/>
            <ac:spMk id="41" creationId="{2A8F743F-99E9-6C6F-E803-3453D525ECCE}"/>
          </ac:spMkLst>
        </pc:spChg>
        <pc:spChg chg="del mod topLvl">
          <ac:chgData name="miraj sinya" userId="9f99502c73333c07" providerId="LiveId" clId="{1B2898EF-2D25-40F5-B0FA-55D6DBAA7B11}" dt="2023-11-13T03:21:06.544" v="1255" actId="478"/>
          <ac:spMkLst>
            <pc:docMk/>
            <pc:sldMk cId="1184884871" sldId="639"/>
            <ac:spMk id="42" creationId="{7F934062-A577-2118-6F49-333C162E9E37}"/>
          </ac:spMkLst>
        </pc:spChg>
        <pc:spChg chg="del mod topLvl">
          <ac:chgData name="miraj sinya" userId="9f99502c73333c07" providerId="LiveId" clId="{1B2898EF-2D25-40F5-B0FA-55D6DBAA7B11}" dt="2023-11-13T03:21:06.544" v="1255" actId="478"/>
          <ac:spMkLst>
            <pc:docMk/>
            <pc:sldMk cId="1184884871" sldId="639"/>
            <ac:spMk id="43" creationId="{087AFCF6-88E3-4542-C739-0A82F6C7DA54}"/>
          </ac:spMkLst>
        </pc:spChg>
        <pc:spChg chg="mod">
          <ac:chgData name="miraj sinya" userId="9f99502c73333c07" providerId="LiveId" clId="{1B2898EF-2D25-40F5-B0FA-55D6DBAA7B11}" dt="2023-11-13T00:35:36.302" v="752" actId="165"/>
          <ac:spMkLst>
            <pc:docMk/>
            <pc:sldMk cId="1184884871" sldId="639"/>
            <ac:spMk id="45" creationId="{D53DA431-044A-9247-7DB6-D8D3BA756959}"/>
          </ac:spMkLst>
        </pc:spChg>
        <pc:spChg chg="mod">
          <ac:chgData name="miraj sinya" userId="9f99502c73333c07" providerId="LiveId" clId="{1B2898EF-2D25-40F5-B0FA-55D6DBAA7B11}" dt="2023-11-13T03:14:07.958" v="1119" actId="1076"/>
          <ac:spMkLst>
            <pc:docMk/>
            <pc:sldMk cId="1184884871" sldId="639"/>
            <ac:spMk id="46" creationId="{AC2A26EC-B237-043B-22EC-A2C5FE2C9D57}"/>
          </ac:spMkLst>
        </pc:spChg>
        <pc:spChg chg="add del mod topLvl">
          <ac:chgData name="miraj sinya" userId="9f99502c73333c07" providerId="LiveId" clId="{1B2898EF-2D25-40F5-B0FA-55D6DBAA7B11}" dt="2023-11-13T00:35:58.455" v="760" actId="478"/>
          <ac:spMkLst>
            <pc:docMk/>
            <pc:sldMk cId="1184884871" sldId="639"/>
            <ac:spMk id="47" creationId="{063DE5D2-7FDF-D2A9-1F7E-77D9FD8BC084}"/>
          </ac:spMkLst>
        </pc:spChg>
        <pc:spChg chg="add del mod topLvl">
          <ac:chgData name="miraj sinya" userId="9f99502c73333c07" providerId="LiveId" clId="{1B2898EF-2D25-40F5-B0FA-55D6DBAA7B11}" dt="2023-11-13T00:35:57.653" v="759" actId="478"/>
          <ac:spMkLst>
            <pc:docMk/>
            <pc:sldMk cId="1184884871" sldId="639"/>
            <ac:spMk id="48" creationId="{17A836ED-CB15-8FDD-7CD7-7C40BCE58BA8}"/>
          </ac:spMkLst>
        </pc:spChg>
        <pc:spChg chg="del mod">
          <ac:chgData name="miraj sinya" userId="9f99502c73333c07" providerId="LiveId" clId="{1B2898EF-2D25-40F5-B0FA-55D6DBAA7B11}" dt="2023-11-13T00:36:02.481" v="762" actId="478"/>
          <ac:spMkLst>
            <pc:docMk/>
            <pc:sldMk cId="1184884871" sldId="639"/>
            <ac:spMk id="50" creationId="{B2DAC392-F749-EA90-4932-D6041413D7C0}"/>
          </ac:spMkLst>
        </pc:spChg>
        <pc:spChg chg="del mod">
          <ac:chgData name="miraj sinya" userId="9f99502c73333c07" providerId="LiveId" clId="{1B2898EF-2D25-40F5-B0FA-55D6DBAA7B11}" dt="2023-11-13T00:36:00.112" v="761" actId="478"/>
          <ac:spMkLst>
            <pc:docMk/>
            <pc:sldMk cId="1184884871" sldId="639"/>
            <ac:spMk id="51" creationId="{05A7468B-65B7-443F-DCF0-D603B9A87E38}"/>
          </ac:spMkLst>
        </pc:spChg>
        <pc:spChg chg="del mod ord topLvl">
          <ac:chgData name="miraj sinya" userId="9f99502c73333c07" providerId="LiveId" clId="{1B2898EF-2D25-40F5-B0FA-55D6DBAA7B11}" dt="2023-11-13T00:42:49.340" v="841" actId="478"/>
          <ac:spMkLst>
            <pc:docMk/>
            <pc:sldMk cId="1184884871" sldId="639"/>
            <ac:spMk id="52" creationId="{E8CD56CA-739E-FFC8-3391-AF8A828C11BD}"/>
          </ac:spMkLst>
        </pc:spChg>
        <pc:spChg chg="del mod topLvl">
          <ac:chgData name="miraj sinya" userId="9f99502c73333c07" providerId="LiveId" clId="{1B2898EF-2D25-40F5-B0FA-55D6DBAA7B11}" dt="2023-11-13T03:21:06.544" v="1255" actId="478"/>
          <ac:spMkLst>
            <pc:docMk/>
            <pc:sldMk cId="1184884871" sldId="639"/>
            <ac:spMk id="53" creationId="{04827F38-AFCA-AA23-5A08-047769B7F99D}"/>
          </ac:spMkLst>
        </pc:spChg>
        <pc:spChg chg="del mod topLvl">
          <ac:chgData name="miraj sinya" userId="9f99502c73333c07" providerId="LiveId" clId="{1B2898EF-2D25-40F5-B0FA-55D6DBAA7B11}" dt="2023-11-13T03:21:06.544" v="1255" actId="478"/>
          <ac:spMkLst>
            <pc:docMk/>
            <pc:sldMk cId="1184884871" sldId="639"/>
            <ac:spMk id="54" creationId="{F114D30D-22FA-46FD-205D-F2D40DC76784}"/>
          </ac:spMkLst>
        </pc:spChg>
        <pc:spChg chg="del mod topLvl">
          <ac:chgData name="miraj sinya" userId="9f99502c73333c07" providerId="LiveId" clId="{1B2898EF-2D25-40F5-B0FA-55D6DBAA7B11}" dt="2023-11-13T03:21:06.544" v="1255" actId="478"/>
          <ac:spMkLst>
            <pc:docMk/>
            <pc:sldMk cId="1184884871" sldId="639"/>
            <ac:spMk id="55" creationId="{A93A7499-5BD5-1D2D-B671-E18D1ABC765C}"/>
          </ac:spMkLst>
        </pc:spChg>
        <pc:spChg chg="mod">
          <ac:chgData name="miraj sinya" userId="9f99502c73333c07" providerId="LiveId" clId="{1B2898EF-2D25-40F5-B0FA-55D6DBAA7B11}" dt="2023-11-13T00:12:10.293" v="316" actId="165"/>
          <ac:spMkLst>
            <pc:docMk/>
            <pc:sldMk cId="1184884871" sldId="639"/>
            <ac:spMk id="56" creationId="{63CA1EC3-04FC-809B-F513-72EA8977AF88}"/>
          </ac:spMkLst>
        </pc:spChg>
        <pc:spChg chg="mod">
          <ac:chgData name="miraj sinya" userId="9f99502c73333c07" providerId="LiveId" clId="{1B2898EF-2D25-40F5-B0FA-55D6DBAA7B11}" dt="2023-11-13T00:12:10.293" v="316" actId="165"/>
          <ac:spMkLst>
            <pc:docMk/>
            <pc:sldMk cId="1184884871" sldId="639"/>
            <ac:spMk id="57" creationId="{1689EAB5-3428-413F-9697-89FAAD856367}"/>
          </ac:spMkLst>
        </pc:spChg>
        <pc:spChg chg="mod">
          <ac:chgData name="miraj sinya" userId="9f99502c73333c07" providerId="LiveId" clId="{1B2898EF-2D25-40F5-B0FA-55D6DBAA7B11}" dt="2023-11-13T00:11:39.085" v="309"/>
          <ac:spMkLst>
            <pc:docMk/>
            <pc:sldMk cId="1184884871" sldId="639"/>
            <ac:spMk id="59" creationId="{3B8A789C-44BD-DCEA-604A-36C2556F3CDB}"/>
          </ac:spMkLst>
        </pc:spChg>
        <pc:spChg chg="mod">
          <ac:chgData name="miraj sinya" userId="9f99502c73333c07" providerId="LiveId" clId="{1B2898EF-2D25-40F5-B0FA-55D6DBAA7B11}" dt="2023-11-13T00:11:49.448" v="310"/>
          <ac:spMkLst>
            <pc:docMk/>
            <pc:sldMk cId="1184884871" sldId="639"/>
            <ac:spMk id="62" creationId="{0C6A4A13-0F8D-0494-0C22-B31F8DFFBEA7}"/>
          </ac:spMkLst>
        </pc:spChg>
        <pc:spChg chg="mod">
          <ac:chgData name="miraj sinya" userId="9f99502c73333c07" providerId="LiveId" clId="{1B2898EF-2D25-40F5-B0FA-55D6DBAA7B11}" dt="2023-11-13T03:30:00.881" v="1436" actId="404"/>
          <ac:spMkLst>
            <pc:docMk/>
            <pc:sldMk cId="1184884871" sldId="639"/>
            <ac:spMk id="65" creationId="{19FB53DD-2BE0-784B-C9F2-ABD840A0A42C}"/>
          </ac:spMkLst>
        </pc:spChg>
        <pc:spChg chg="mod">
          <ac:chgData name="miraj sinya" userId="9f99502c73333c07" providerId="LiveId" clId="{1B2898EF-2D25-40F5-B0FA-55D6DBAA7B11}" dt="2023-11-13T03:30:00.881" v="1436" actId="404"/>
          <ac:spMkLst>
            <pc:docMk/>
            <pc:sldMk cId="1184884871" sldId="639"/>
            <ac:spMk id="68" creationId="{38E2F3B4-794A-839E-7C5C-817CAA46D817}"/>
          </ac:spMkLst>
        </pc:spChg>
        <pc:spChg chg="add del mod">
          <ac:chgData name="miraj sinya" userId="9f99502c73333c07" providerId="LiveId" clId="{1B2898EF-2D25-40F5-B0FA-55D6DBAA7B11}" dt="2023-11-13T00:26:27.355" v="562" actId="478"/>
          <ac:spMkLst>
            <pc:docMk/>
            <pc:sldMk cId="1184884871" sldId="639"/>
            <ac:spMk id="70" creationId="{D86068A3-5EE1-04F1-C9E0-073395EF0D75}"/>
          </ac:spMkLst>
        </pc:spChg>
        <pc:spChg chg="add del mod">
          <ac:chgData name="miraj sinya" userId="9f99502c73333c07" providerId="LiveId" clId="{1B2898EF-2D25-40F5-B0FA-55D6DBAA7B11}" dt="2023-11-13T00:31:36.098" v="727" actId="478"/>
          <ac:spMkLst>
            <pc:docMk/>
            <pc:sldMk cId="1184884871" sldId="639"/>
            <ac:spMk id="71" creationId="{B4B7A232-3112-10E1-4153-B39B8FBBC9B6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72" creationId="{C5A03A19-CCC4-1619-1E8F-7BFA37864BC2}"/>
          </ac:spMkLst>
        </pc:spChg>
        <pc:spChg chg="add mod or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73" creationId="{0B0CFEFC-3C64-163A-6E06-35182CF99097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75" creationId="{EDE135B7-BE7D-C471-8D4B-C552FBE8878B}"/>
          </ac:spMkLst>
        </pc:spChg>
        <pc:spChg chg="add mod">
          <ac:chgData name="miraj sinya" userId="9f99502c73333c07" providerId="LiveId" clId="{1B2898EF-2D25-40F5-B0FA-55D6DBAA7B11}" dt="2023-11-13T05:11:49.651" v="3061" actId="165"/>
          <ac:spMkLst>
            <pc:docMk/>
            <pc:sldMk cId="1184884871" sldId="639"/>
            <ac:spMk id="76" creationId="{AD95EA41-F21D-88C3-4FEC-A3E90B1A483D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77" creationId="{8D17EDA9-1791-E364-7E75-1AB06709E60E}"/>
          </ac:spMkLst>
        </pc:spChg>
        <pc:spChg chg="add mod ord">
          <ac:chgData name="miraj sinya" userId="9f99502c73333c07" providerId="LiveId" clId="{1B2898EF-2D25-40F5-B0FA-55D6DBAA7B11}" dt="2023-11-13T05:11:49.651" v="3061" actId="165"/>
          <ac:spMkLst>
            <pc:docMk/>
            <pc:sldMk cId="1184884871" sldId="639"/>
            <ac:spMk id="81" creationId="{22276677-B73D-A8E3-7DC8-729041EF94B9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82" creationId="{A3D82430-26B0-9A33-318E-E220A859D2CA}"/>
          </ac:spMkLst>
        </pc:spChg>
        <pc:spChg chg="add mod topLvl">
          <ac:chgData name="miraj sinya" userId="9f99502c73333c07" providerId="LiveId" clId="{1B2898EF-2D25-40F5-B0FA-55D6DBAA7B11}" dt="2023-11-13T05:35:29.859" v="3646" actId="207"/>
          <ac:spMkLst>
            <pc:docMk/>
            <pc:sldMk cId="1184884871" sldId="639"/>
            <ac:spMk id="83" creationId="{E69D2F4D-E174-6CE4-C159-2CC695BC965D}"/>
          </ac:spMkLst>
        </pc:spChg>
        <pc:spChg chg="add mod">
          <ac:chgData name="miraj sinya" userId="9f99502c73333c07" providerId="LiveId" clId="{1B2898EF-2D25-40F5-B0FA-55D6DBAA7B11}" dt="2023-11-13T00:42:33.970" v="839"/>
          <ac:spMkLst>
            <pc:docMk/>
            <pc:sldMk cId="1184884871" sldId="639"/>
            <ac:spMk id="86" creationId="{5EC9B854-F7C5-465F-05D2-66D82151D1BF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87" creationId="{9CE86D58-3AB2-14A4-3D70-36B4FFFB06A7}"/>
          </ac:spMkLst>
        </pc:spChg>
        <pc:spChg chg="add mod or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91" creationId="{82382FF4-2D98-61AF-23AD-8637E0328A91}"/>
          </ac:spMkLst>
        </pc:spChg>
        <pc:spChg chg="add del mod ord">
          <ac:chgData name="miraj sinya" userId="9f99502c73333c07" providerId="LiveId" clId="{1B2898EF-2D25-40F5-B0FA-55D6DBAA7B11}" dt="2023-11-13T02:59:09.046" v="999" actId="478"/>
          <ac:spMkLst>
            <pc:docMk/>
            <pc:sldMk cId="1184884871" sldId="639"/>
            <ac:spMk id="92" creationId="{C1CDE711-1E74-5819-C90B-337D6CAEBBBB}"/>
          </ac:spMkLst>
        </pc:spChg>
        <pc:spChg chg="add del mod">
          <ac:chgData name="miraj sinya" userId="9f99502c73333c07" providerId="LiveId" clId="{1B2898EF-2D25-40F5-B0FA-55D6DBAA7B11}" dt="2023-11-13T03:14:14.866" v="1121" actId="478"/>
          <ac:spMkLst>
            <pc:docMk/>
            <pc:sldMk cId="1184884871" sldId="639"/>
            <ac:spMk id="149" creationId="{5BA8B759-64A2-7165-B7FF-5D074C8338F1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50" creationId="{A5E22513-E0B5-602E-5BF7-9227A660CDFE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51" creationId="{59EC0D48-6E66-6486-3940-42FC69C6C9E6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52" creationId="{E905CD92-8C9C-21DA-EE2A-2CCC303FCFCC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53" creationId="{00263202-ED11-1BD2-9B0B-E0DD12A07A8E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54" creationId="{3A16C758-CB51-7FA6-8B4D-1F115B6995EE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55" creationId="{0C94BDB0-4843-CB06-A087-4BFE849D4225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56" creationId="{E6F5E276-A1BA-844D-C844-2ABABE474C8F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57" creationId="{9989F204-332A-7015-0462-3468051FDD75}"/>
          </ac:spMkLst>
        </pc:spChg>
        <pc:spChg chg="add del mod">
          <ac:chgData name="miraj sinya" userId="9f99502c73333c07" providerId="LiveId" clId="{1B2898EF-2D25-40F5-B0FA-55D6DBAA7B11}" dt="2023-11-13T03:50:15.109" v="1599" actId="478"/>
          <ac:spMkLst>
            <pc:docMk/>
            <pc:sldMk cId="1184884871" sldId="639"/>
            <ac:spMk id="159" creationId="{CFA95CC0-9AF8-E29B-7FCD-AC4504553A79}"/>
          </ac:spMkLst>
        </pc:spChg>
        <pc:spChg chg="add mod">
          <ac:chgData name="miraj sinya" userId="9f99502c73333c07" providerId="LiveId" clId="{1B2898EF-2D25-40F5-B0FA-55D6DBAA7B11}" dt="2023-11-13T05:11:49.651" v="3061" actId="165"/>
          <ac:spMkLst>
            <pc:docMk/>
            <pc:sldMk cId="1184884871" sldId="639"/>
            <ac:spMk id="160" creationId="{A410AEC4-AB8F-8044-0CFB-02809AF044CA}"/>
          </ac:spMkLst>
        </pc:spChg>
        <pc:spChg chg="add mod">
          <ac:chgData name="miraj sinya" userId="9f99502c73333c07" providerId="LiveId" clId="{1B2898EF-2D25-40F5-B0FA-55D6DBAA7B11}" dt="2023-11-13T05:11:49.651" v="3061" actId="165"/>
          <ac:spMkLst>
            <pc:docMk/>
            <pc:sldMk cId="1184884871" sldId="639"/>
            <ac:spMk id="164" creationId="{B6EC403A-8615-33F2-720E-524F42A21727}"/>
          </ac:spMkLst>
        </pc:spChg>
        <pc:spChg chg="add mod topLvl">
          <ac:chgData name="miraj sinya" userId="9f99502c73333c07" providerId="LiveId" clId="{1B2898EF-2D25-40F5-B0FA-55D6DBAA7B11}" dt="2023-11-13T05:12:40.227" v="3073" actId="20577"/>
          <ac:spMkLst>
            <pc:docMk/>
            <pc:sldMk cId="1184884871" sldId="639"/>
            <ac:spMk id="165" creationId="{4492B261-50C0-D6B6-3C27-A8C404EF0D80}"/>
          </ac:spMkLst>
        </pc:spChg>
        <pc:spChg chg="add mod topLvl">
          <ac:chgData name="miraj sinya" userId="9f99502c73333c07" providerId="LiveId" clId="{1B2898EF-2D25-40F5-B0FA-55D6DBAA7B11}" dt="2023-11-13T05:11:49.651" v="3061" actId="165"/>
          <ac:spMkLst>
            <pc:docMk/>
            <pc:sldMk cId="1184884871" sldId="639"/>
            <ac:spMk id="176" creationId="{077EFBB0-D5A1-CB2B-C8A6-808F5D826300}"/>
          </ac:spMkLst>
        </pc:spChg>
        <pc:spChg chg="add mod topLvl">
          <ac:chgData name="miraj sinya" userId="9f99502c73333c07" providerId="LiveId" clId="{1B2898EF-2D25-40F5-B0FA-55D6DBAA7B11}" dt="2023-11-13T05:11:56.198" v="3062" actId="164"/>
          <ac:spMkLst>
            <pc:docMk/>
            <pc:sldMk cId="1184884871" sldId="639"/>
            <ac:spMk id="177" creationId="{210180B1-B554-9EBB-06F0-3333EBE6CE6D}"/>
          </ac:spMkLst>
        </pc:spChg>
        <pc:spChg chg="add mod">
          <ac:chgData name="miraj sinya" userId="9f99502c73333c07" providerId="LiveId" clId="{1B2898EF-2D25-40F5-B0FA-55D6DBAA7B11}" dt="2023-11-13T05:11:49.651" v="3061" actId="165"/>
          <ac:spMkLst>
            <pc:docMk/>
            <pc:sldMk cId="1184884871" sldId="639"/>
            <ac:spMk id="178" creationId="{80D6E062-C375-271D-1578-0EBC9A65C60D}"/>
          </ac:spMkLst>
        </pc:spChg>
        <pc:spChg chg="add mod">
          <ac:chgData name="miraj sinya" userId="9f99502c73333c07" providerId="LiveId" clId="{1B2898EF-2D25-40F5-B0FA-55D6DBAA7B11}" dt="2023-11-13T05:31:12.305" v="3599" actId="20577"/>
          <ac:spMkLst>
            <pc:docMk/>
            <pc:sldMk cId="1184884871" sldId="639"/>
            <ac:spMk id="180" creationId="{95940763-A564-F709-E711-242503887749}"/>
          </ac:spMkLst>
        </pc:spChg>
        <pc:spChg chg="add mod">
          <ac:chgData name="miraj sinya" userId="9f99502c73333c07" providerId="LiveId" clId="{1B2898EF-2D25-40F5-B0FA-55D6DBAA7B11}" dt="2023-11-13T05:32:05.428" v="3636" actId="1035"/>
          <ac:spMkLst>
            <pc:docMk/>
            <pc:sldMk cId="1184884871" sldId="639"/>
            <ac:spMk id="182" creationId="{51C8A7FA-5244-0BC6-60A6-35E3B11C47ED}"/>
          </ac:spMkLst>
        </pc:spChg>
        <pc:spChg chg="add mod">
          <ac:chgData name="miraj sinya" userId="9f99502c73333c07" providerId="LiveId" clId="{1B2898EF-2D25-40F5-B0FA-55D6DBAA7B11}" dt="2023-11-13T05:32:05.428" v="3636" actId="1035"/>
          <ac:spMkLst>
            <pc:docMk/>
            <pc:sldMk cId="1184884871" sldId="639"/>
            <ac:spMk id="183" creationId="{5D2E0A6F-11DF-3897-5C03-9983CE659E97}"/>
          </ac:spMkLst>
        </pc:spChg>
        <pc:spChg chg="add mod">
          <ac:chgData name="miraj sinya" userId="9f99502c73333c07" providerId="LiveId" clId="{1B2898EF-2D25-40F5-B0FA-55D6DBAA7B11}" dt="2023-11-13T05:31:28.962" v="3602" actId="14100"/>
          <ac:spMkLst>
            <pc:docMk/>
            <pc:sldMk cId="1184884871" sldId="639"/>
            <ac:spMk id="185" creationId="{5E02C9B9-8341-368A-0C3F-F3E9D772930E}"/>
          </ac:spMkLst>
        </pc:spChg>
        <pc:spChg chg="add mod">
          <ac:chgData name="miraj sinya" userId="9f99502c73333c07" providerId="LiveId" clId="{1B2898EF-2D25-40F5-B0FA-55D6DBAA7B11}" dt="2023-11-13T05:32:28.008" v="3639" actId="1076"/>
          <ac:spMkLst>
            <pc:docMk/>
            <pc:sldMk cId="1184884871" sldId="639"/>
            <ac:spMk id="186" creationId="{D90A5ECD-B91D-F5A7-FD68-249BDD6C3E3C}"/>
          </ac:spMkLst>
        </pc:spChg>
        <pc:grpChg chg="add del mod">
          <ac:chgData name="miraj sinya" userId="9f99502c73333c07" providerId="LiveId" clId="{1B2898EF-2D25-40F5-B0FA-55D6DBAA7B11}" dt="2023-11-13T00:12:08.915" v="315" actId="165"/>
          <ac:grpSpMkLst>
            <pc:docMk/>
            <pc:sldMk cId="1184884871" sldId="639"/>
            <ac:grpSpMk id="4" creationId="{AE9445A1-3D15-DFBB-FF2D-869BB2D9F603}"/>
          </ac:grpSpMkLst>
        </pc:grpChg>
        <pc:grpChg chg="del mod topLvl">
          <ac:chgData name="miraj sinya" userId="9f99502c73333c07" providerId="LiveId" clId="{1B2898EF-2D25-40F5-B0FA-55D6DBAA7B11}" dt="2023-11-13T00:12:10.293" v="316" actId="165"/>
          <ac:grpSpMkLst>
            <pc:docMk/>
            <pc:sldMk cId="1184884871" sldId="639"/>
            <ac:grpSpMk id="5" creationId="{B35889D7-2C49-C193-A869-F94375AD7D1F}"/>
          </ac:grpSpMkLst>
        </pc:grpChg>
        <pc:grpChg chg="del mod topLvl">
          <ac:chgData name="miraj sinya" userId="9f99502c73333c07" providerId="LiveId" clId="{1B2898EF-2D25-40F5-B0FA-55D6DBAA7B11}" dt="2023-11-13T00:12:10.293" v="316" actId="165"/>
          <ac:grpSpMkLst>
            <pc:docMk/>
            <pc:sldMk cId="1184884871" sldId="639"/>
            <ac:grpSpMk id="6" creationId="{BAA297B9-F51F-534D-3863-3311474E49FA}"/>
          </ac:grpSpMkLst>
        </pc:grpChg>
        <pc:grpChg chg="del mod topLvl">
          <ac:chgData name="miraj sinya" userId="9f99502c73333c07" providerId="LiveId" clId="{1B2898EF-2D25-40F5-B0FA-55D6DBAA7B11}" dt="2023-11-13T00:12:10.728" v="317" actId="165"/>
          <ac:grpSpMkLst>
            <pc:docMk/>
            <pc:sldMk cId="1184884871" sldId="639"/>
            <ac:grpSpMk id="7" creationId="{75531EC3-6DF7-D1D8-8285-098927DDC3D4}"/>
          </ac:grpSpMkLst>
        </pc:grpChg>
        <pc:grpChg chg="del mod topLvl">
          <ac:chgData name="miraj sinya" userId="9f99502c73333c07" providerId="LiveId" clId="{1B2898EF-2D25-40F5-B0FA-55D6DBAA7B11}" dt="2023-11-13T00:12:10.728" v="317" actId="165"/>
          <ac:grpSpMkLst>
            <pc:docMk/>
            <pc:sldMk cId="1184884871" sldId="639"/>
            <ac:grpSpMk id="8" creationId="{0C87DD1F-1B33-6DEA-F1FE-5A995D4DFDCB}"/>
          </ac:grpSpMkLst>
        </pc:grpChg>
        <pc:grpChg chg="del mod topLvl">
          <ac:chgData name="miraj sinya" userId="9f99502c73333c07" providerId="LiveId" clId="{1B2898EF-2D25-40F5-B0FA-55D6DBAA7B11}" dt="2023-11-13T00:12:11.022" v="318" actId="165"/>
          <ac:grpSpMkLst>
            <pc:docMk/>
            <pc:sldMk cId="1184884871" sldId="639"/>
            <ac:grpSpMk id="11" creationId="{C791B119-452E-DDC7-7905-0A02528DEE9C}"/>
          </ac:grpSpMkLst>
        </pc:grpChg>
        <pc:grpChg chg="del mod topLvl">
          <ac:chgData name="miraj sinya" userId="9f99502c73333c07" providerId="LiveId" clId="{1B2898EF-2D25-40F5-B0FA-55D6DBAA7B11}" dt="2023-11-13T00:12:11.317" v="319" actId="165"/>
          <ac:grpSpMkLst>
            <pc:docMk/>
            <pc:sldMk cId="1184884871" sldId="639"/>
            <ac:grpSpMk id="13" creationId="{14842029-6054-3838-B779-EA86D9B8E16E}"/>
          </ac:grpSpMkLst>
        </pc:grpChg>
        <pc:grpChg chg="del mod topLvl">
          <ac:chgData name="miraj sinya" userId="9f99502c73333c07" providerId="LiveId" clId="{1B2898EF-2D25-40F5-B0FA-55D6DBAA7B11}" dt="2023-11-13T00:12:11.317" v="319" actId="165"/>
          <ac:grpSpMkLst>
            <pc:docMk/>
            <pc:sldMk cId="1184884871" sldId="639"/>
            <ac:grpSpMk id="14" creationId="{5DCBA0E6-AD76-59CA-C923-141A6ADF99B2}"/>
          </ac:grpSpMkLst>
        </pc:grpChg>
        <pc:grpChg chg="del mod topLvl">
          <ac:chgData name="miraj sinya" userId="9f99502c73333c07" providerId="LiveId" clId="{1B2898EF-2D25-40F5-B0FA-55D6DBAA7B11}" dt="2023-11-13T00:12:11.317" v="319" actId="165"/>
          <ac:grpSpMkLst>
            <pc:docMk/>
            <pc:sldMk cId="1184884871" sldId="639"/>
            <ac:grpSpMk id="17" creationId="{44A4E762-522C-48B1-2EEC-4C590AAEFF78}"/>
          </ac:grpSpMkLst>
        </pc:grpChg>
        <pc:grpChg chg="del mod topLvl">
          <ac:chgData name="miraj sinya" userId="9f99502c73333c07" providerId="LiveId" clId="{1B2898EF-2D25-40F5-B0FA-55D6DBAA7B11}" dt="2023-11-13T00:12:11.536" v="320" actId="165"/>
          <ac:grpSpMkLst>
            <pc:docMk/>
            <pc:sldMk cId="1184884871" sldId="639"/>
            <ac:grpSpMk id="20" creationId="{9F193232-45C5-97B5-7950-AA3159A51CD8}"/>
          </ac:grpSpMkLst>
        </pc:grpChg>
        <pc:grpChg chg="del mod topLvl">
          <ac:chgData name="miraj sinya" userId="9f99502c73333c07" providerId="LiveId" clId="{1B2898EF-2D25-40F5-B0FA-55D6DBAA7B11}" dt="2023-11-13T03:21:06.544" v="1255" actId="478"/>
          <ac:grpSpMkLst>
            <pc:docMk/>
            <pc:sldMk cId="1184884871" sldId="639"/>
            <ac:grpSpMk id="29" creationId="{BFBEDF10-C7B6-3FC0-1958-47A32EB19787}"/>
          </ac:grpSpMkLst>
        </pc:grpChg>
        <pc:grpChg chg="add del mod topLvl">
          <ac:chgData name="miraj sinya" userId="9f99502c73333c07" providerId="LiveId" clId="{1B2898EF-2D25-40F5-B0FA-55D6DBAA7B11}" dt="2023-11-13T00:35:35.427" v="750" actId="165"/>
          <ac:grpSpMkLst>
            <pc:docMk/>
            <pc:sldMk cId="1184884871" sldId="639"/>
            <ac:grpSpMk id="30" creationId="{1EFF5BE0-9F61-8B4E-45CE-3EBACE68EF93}"/>
          </ac:grpSpMkLst>
        </pc:grpChg>
        <pc:grpChg chg="del mod topLvl">
          <ac:chgData name="miraj sinya" userId="9f99502c73333c07" providerId="LiveId" clId="{1B2898EF-2D25-40F5-B0FA-55D6DBAA7B11}" dt="2023-11-13T00:35:35.923" v="751" actId="165"/>
          <ac:grpSpMkLst>
            <pc:docMk/>
            <pc:sldMk cId="1184884871" sldId="639"/>
            <ac:grpSpMk id="31" creationId="{CC83535F-ACA4-6E00-C0B1-31224EC4CF97}"/>
          </ac:grpSpMkLst>
        </pc:grpChg>
        <pc:grpChg chg="del mod topLvl">
          <ac:chgData name="miraj sinya" userId="9f99502c73333c07" providerId="LiveId" clId="{1B2898EF-2D25-40F5-B0FA-55D6DBAA7B11}" dt="2023-11-13T00:35:35.923" v="751" actId="165"/>
          <ac:grpSpMkLst>
            <pc:docMk/>
            <pc:sldMk cId="1184884871" sldId="639"/>
            <ac:grpSpMk id="32" creationId="{48D24F5B-7D81-5455-2375-33399630D3B8}"/>
          </ac:grpSpMkLst>
        </pc:grpChg>
        <pc:grpChg chg="del mod topLvl">
          <ac:chgData name="miraj sinya" userId="9f99502c73333c07" providerId="LiveId" clId="{1B2898EF-2D25-40F5-B0FA-55D6DBAA7B11}" dt="2023-11-13T00:35:36.302" v="752" actId="165"/>
          <ac:grpSpMkLst>
            <pc:docMk/>
            <pc:sldMk cId="1184884871" sldId="639"/>
            <ac:grpSpMk id="35" creationId="{AA5433EC-A30A-D253-8BF6-4ED227F7AE91}"/>
          </ac:grpSpMkLst>
        </pc:grpChg>
        <pc:grpChg chg="del mod topLvl">
          <ac:chgData name="miraj sinya" userId="9f99502c73333c07" providerId="LiveId" clId="{1B2898EF-2D25-40F5-B0FA-55D6DBAA7B11}" dt="2023-11-13T00:35:36.302" v="752" actId="165"/>
          <ac:grpSpMkLst>
            <pc:docMk/>
            <pc:sldMk cId="1184884871" sldId="639"/>
            <ac:grpSpMk id="36" creationId="{092D1F90-5F75-6FBD-6DD1-ACE4DCB5F941}"/>
          </ac:grpSpMkLst>
        </pc:grpChg>
        <pc:grpChg chg="del mod topLvl">
          <ac:chgData name="miraj sinya" userId="9f99502c73333c07" providerId="LiveId" clId="{1B2898EF-2D25-40F5-B0FA-55D6DBAA7B11}" dt="2023-11-13T00:35:36.302" v="752" actId="165"/>
          <ac:grpSpMkLst>
            <pc:docMk/>
            <pc:sldMk cId="1184884871" sldId="639"/>
            <ac:grpSpMk id="37" creationId="{CFB12750-D3E5-5541-0B85-C764F70220F9}"/>
          </ac:grpSpMkLst>
        </pc:grpChg>
        <pc:grpChg chg="del mod topLvl">
          <ac:chgData name="miraj sinya" userId="9f99502c73333c07" providerId="LiveId" clId="{1B2898EF-2D25-40F5-B0FA-55D6DBAA7B11}" dt="2023-11-13T00:35:36.302" v="752" actId="165"/>
          <ac:grpSpMkLst>
            <pc:docMk/>
            <pc:sldMk cId="1184884871" sldId="639"/>
            <ac:grpSpMk id="38" creationId="{E9F41EB2-9EB6-24FD-7016-CFE64C39B571}"/>
          </ac:grpSpMkLst>
        </pc:grpChg>
        <pc:grpChg chg="del mod topLvl">
          <ac:chgData name="miraj sinya" userId="9f99502c73333c07" providerId="LiveId" clId="{1B2898EF-2D25-40F5-B0FA-55D6DBAA7B11}" dt="2023-11-13T03:21:06.544" v="1255" actId="478"/>
          <ac:grpSpMkLst>
            <pc:docMk/>
            <pc:sldMk cId="1184884871" sldId="639"/>
            <ac:grpSpMk id="44" creationId="{AF25E9F1-1D19-50DC-9EDF-DA0BF1F9A59C}"/>
          </ac:grpSpMkLst>
        </pc:grpChg>
        <pc:grpChg chg="add del mod topLvl">
          <ac:chgData name="miraj sinya" userId="9f99502c73333c07" providerId="LiveId" clId="{1B2898EF-2D25-40F5-B0FA-55D6DBAA7B11}" dt="2023-11-13T03:09:36.018" v="1082" actId="165"/>
          <ac:grpSpMkLst>
            <pc:docMk/>
            <pc:sldMk cId="1184884871" sldId="639"/>
            <ac:grpSpMk id="49" creationId="{70BEA887-F75E-761E-593A-C001E76A4D64}"/>
          </ac:grpSpMkLst>
        </pc:grpChg>
        <pc:grpChg chg="add del mod">
          <ac:chgData name="miraj sinya" userId="9f99502c73333c07" providerId="LiveId" clId="{1B2898EF-2D25-40F5-B0FA-55D6DBAA7B11}" dt="2023-11-13T00:22:24.629" v="323" actId="478"/>
          <ac:grpSpMkLst>
            <pc:docMk/>
            <pc:sldMk cId="1184884871" sldId="639"/>
            <ac:grpSpMk id="58" creationId="{B1350F13-AE78-8E5C-6F0F-2A099DD77D52}"/>
          </ac:grpSpMkLst>
        </pc:grpChg>
        <pc:grpChg chg="add del mod">
          <ac:chgData name="miraj sinya" userId="9f99502c73333c07" providerId="LiveId" clId="{1B2898EF-2D25-40F5-B0FA-55D6DBAA7B11}" dt="2023-11-13T00:22:24.629" v="323" actId="478"/>
          <ac:grpSpMkLst>
            <pc:docMk/>
            <pc:sldMk cId="1184884871" sldId="639"/>
            <ac:grpSpMk id="61" creationId="{2511707D-3907-FCD3-5317-213B39D58752}"/>
          </ac:grpSpMkLst>
        </pc:grpChg>
        <pc:grpChg chg="add mod">
          <ac:chgData name="miraj sinya" userId="9f99502c73333c07" providerId="LiveId" clId="{1B2898EF-2D25-40F5-B0FA-55D6DBAA7B11}" dt="2023-11-13T05:32:05.428" v="3636" actId="1035"/>
          <ac:grpSpMkLst>
            <pc:docMk/>
            <pc:sldMk cId="1184884871" sldId="639"/>
            <ac:grpSpMk id="64" creationId="{94A6FC51-2A6A-C64C-F560-E7EF57104345}"/>
          </ac:grpSpMkLst>
        </pc:grpChg>
        <pc:grpChg chg="add mod">
          <ac:chgData name="miraj sinya" userId="9f99502c73333c07" providerId="LiveId" clId="{1B2898EF-2D25-40F5-B0FA-55D6DBAA7B11}" dt="2023-11-13T05:32:05.428" v="3636" actId="1035"/>
          <ac:grpSpMkLst>
            <pc:docMk/>
            <pc:sldMk cId="1184884871" sldId="639"/>
            <ac:grpSpMk id="67" creationId="{4E32D611-33D6-3F43-CD96-33E3B70382CE}"/>
          </ac:grpSpMkLst>
        </pc:grpChg>
        <pc:grpChg chg="add mod">
          <ac:chgData name="miraj sinya" userId="9f99502c73333c07" providerId="LiveId" clId="{1B2898EF-2D25-40F5-B0FA-55D6DBAA7B11}" dt="2023-11-13T00:40:15.721" v="832" actId="164"/>
          <ac:grpSpMkLst>
            <pc:docMk/>
            <pc:sldMk cId="1184884871" sldId="639"/>
            <ac:grpSpMk id="84" creationId="{9D9E8055-C44F-A745-EB1C-A81DD0BB6209}"/>
          </ac:grpSpMkLst>
        </pc:grpChg>
        <pc:grpChg chg="add mod topLvl">
          <ac:chgData name="miraj sinya" userId="9f99502c73333c07" providerId="LiveId" clId="{1B2898EF-2D25-40F5-B0FA-55D6DBAA7B11}" dt="2023-11-13T05:11:56.198" v="3062" actId="164"/>
          <ac:grpSpMkLst>
            <pc:docMk/>
            <pc:sldMk cId="1184884871" sldId="639"/>
            <ac:grpSpMk id="88" creationId="{DC08EE69-E367-0C46-DF10-C36B54A04099}"/>
          </ac:grpSpMkLst>
        </pc:grpChg>
        <pc:grpChg chg="add del mod topLvl">
          <ac:chgData name="miraj sinya" userId="9f99502c73333c07" providerId="LiveId" clId="{1B2898EF-2D25-40F5-B0FA-55D6DBAA7B11}" dt="2023-11-13T05:11:49.651" v="3061" actId="165"/>
          <ac:grpSpMkLst>
            <pc:docMk/>
            <pc:sldMk cId="1184884871" sldId="639"/>
            <ac:grpSpMk id="89" creationId="{672F88F4-A753-8A84-C502-97AD13E7CF3A}"/>
          </ac:grpSpMkLst>
        </pc:grpChg>
        <pc:grpChg chg="add del mod">
          <ac:chgData name="miraj sinya" userId="9f99502c73333c07" providerId="LiveId" clId="{1B2898EF-2D25-40F5-B0FA-55D6DBAA7B11}" dt="2023-11-13T03:11:33.231" v="1099" actId="165"/>
          <ac:grpSpMkLst>
            <pc:docMk/>
            <pc:sldMk cId="1184884871" sldId="639"/>
            <ac:grpSpMk id="136" creationId="{D69844A8-4784-B01B-84B4-C22E5E9FCF3D}"/>
          </ac:grpSpMkLst>
        </pc:grpChg>
        <pc:grpChg chg="add del mod">
          <ac:chgData name="miraj sinya" userId="9f99502c73333c07" providerId="LiveId" clId="{1B2898EF-2D25-40F5-B0FA-55D6DBAA7B11}" dt="2023-11-13T03:23:12.057" v="1295" actId="165"/>
          <ac:grpSpMkLst>
            <pc:docMk/>
            <pc:sldMk cId="1184884871" sldId="639"/>
            <ac:grpSpMk id="158" creationId="{EF24A61D-8D59-D2CE-3947-CF352A35BBF2}"/>
          </ac:grpSpMkLst>
        </pc:grpChg>
        <pc:grpChg chg="add del mod">
          <ac:chgData name="miraj sinya" userId="9f99502c73333c07" providerId="LiveId" clId="{1B2898EF-2D25-40F5-B0FA-55D6DBAA7B11}" dt="2023-11-13T03:26:44.272" v="1375" actId="165"/>
          <ac:grpSpMkLst>
            <pc:docMk/>
            <pc:sldMk cId="1184884871" sldId="639"/>
            <ac:grpSpMk id="172" creationId="{387B9C99-A843-F8A4-07AE-596ECB748A51}"/>
          </ac:grpSpMkLst>
        </pc:grpChg>
        <pc:grpChg chg="add mod">
          <ac:chgData name="miraj sinya" userId="9f99502c73333c07" providerId="LiveId" clId="{1B2898EF-2D25-40F5-B0FA-55D6DBAA7B11}" dt="2023-11-13T05:11:49.651" v="3061" actId="165"/>
          <ac:grpSpMkLst>
            <pc:docMk/>
            <pc:sldMk cId="1184884871" sldId="639"/>
            <ac:grpSpMk id="173" creationId="{9C0B038B-2935-990C-C1C4-A4BC34754D75}"/>
          </ac:grpSpMkLst>
        </pc:grpChg>
        <pc:grpChg chg="add mod">
          <ac:chgData name="miraj sinya" userId="9f99502c73333c07" providerId="LiveId" clId="{1B2898EF-2D25-40F5-B0FA-55D6DBAA7B11}" dt="2023-11-13T05:11:49.651" v="3061" actId="165"/>
          <ac:grpSpMkLst>
            <pc:docMk/>
            <pc:sldMk cId="1184884871" sldId="639"/>
            <ac:grpSpMk id="174" creationId="{09C30D20-212D-B318-5B07-33FB0A47006F}"/>
          </ac:grpSpMkLst>
        </pc:grpChg>
        <pc:grpChg chg="add mod topLvl">
          <ac:chgData name="miraj sinya" userId="9f99502c73333c07" providerId="LiveId" clId="{1B2898EF-2D25-40F5-B0FA-55D6DBAA7B11}" dt="2023-11-13T05:11:56.198" v="3062" actId="164"/>
          <ac:grpSpMkLst>
            <pc:docMk/>
            <pc:sldMk cId="1184884871" sldId="639"/>
            <ac:grpSpMk id="175" creationId="{268D5AD8-67AD-AE21-9260-0DF8BDDC3BE0}"/>
          </ac:grpSpMkLst>
        </pc:grpChg>
        <pc:grpChg chg="add del mod">
          <ac:chgData name="miraj sinya" userId="9f99502c73333c07" providerId="LiveId" clId="{1B2898EF-2D25-40F5-B0FA-55D6DBAA7B11}" dt="2023-11-13T03:37:24.104" v="1528" actId="165"/>
          <ac:grpSpMkLst>
            <pc:docMk/>
            <pc:sldMk cId="1184884871" sldId="639"/>
            <ac:grpSpMk id="179" creationId="{DD052208-E183-7100-82F3-2DEA6DF58772}"/>
          </ac:grpSpMkLst>
        </pc:grpChg>
        <pc:grpChg chg="add del mod">
          <ac:chgData name="miraj sinya" userId="9f99502c73333c07" providerId="LiveId" clId="{1B2898EF-2D25-40F5-B0FA-55D6DBAA7B11}" dt="2023-11-13T04:43:05.263" v="2676" actId="165"/>
          <ac:grpSpMkLst>
            <pc:docMk/>
            <pc:sldMk cId="1184884871" sldId="639"/>
            <ac:grpSpMk id="181" creationId="{8529737B-46F3-F322-2535-EF38961B6C19}"/>
          </ac:grpSpMkLst>
        </pc:grpChg>
        <pc:grpChg chg="add mod topLvl">
          <ac:chgData name="miraj sinya" userId="9f99502c73333c07" providerId="LiveId" clId="{1B2898EF-2D25-40F5-B0FA-55D6DBAA7B11}" dt="2023-11-13T05:11:56.198" v="3062" actId="164"/>
          <ac:grpSpMkLst>
            <pc:docMk/>
            <pc:sldMk cId="1184884871" sldId="639"/>
            <ac:grpSpMk id="187" creationId="{5E01B596-B17A-7E8E-19DC-AB8DCCBA3093}"/>
          </ac:grpSpMkLst>
        </pc:grpChg>
        <pc:grpChg chg="add del mod">
          <ac:chgData name="miraj sinya" userId="9f99502c73333c07" providerId="LiveId" clId="{1B2898EF-2D25-40F5-B0FA-55D6DBAA7B11}" dt="2023-11-13T05:11:49.651" v="3061" actId="165"/>
          <ac:grpSpMkLst>
            <pc:docMk/>
            <pc:sldMk cId="1184884871" sldId="639"/>
            <ac:grpSpMk id="188" creationId="{7506B28A-1CD5-BA31-D108-294FFE01E78A}"/>
          </ac:grpSpMkLst>
        </pc:grpChg>
        <pc:grpChg chg="add mod">
          <ac:chgData name="miraj sinya" userId="9f99502c73333c07" providerId="LiveId" clId="{1B2898EF-2D25-40F5-B0FA-55D6DBAA7B11}" dt="2023-11-13T05:32:05.428" v="3636" actId="1035"/>
          <ac:grpSpMkLst>
            <pc:docMk/>
            <pc:sldMk cId="1184884871" sldId="639"/>
            <ac:grpSpMk id="189" creationId="{21E4AE07-19DF-13FB-C2CC-B69A16EFA3B0}"/>
          </ac:grpSpMkLst>
        </pc:grpChg>
        <pc:picChg chg="del mod topLvl">
          <ac:chgData name="miraj sinya" userId="9f99502c73333c07" providerId="LiveId" clId="{1B2898EF-2D25-40F5-B0FA-55D6DBAA7B11}" dt="2023-11-13T00:34:47.758" v="747" actId="478"/>
          <ac:picMkLst>
            <pc:docMk/>
            <pc:sldMk cId="1184884871" sldId="639"/>
            <ac:picMk id="10" creationId="{1A166E08-11EB-34DC-E7A9-6E5BAF668496}"/>
          </ac:picMkLst>
        </pc:picChg>
        <pc:picChg chg="del mod topLvl">
          <ac:chgData name="miraj sinya" userId="9f99502c73333c07" providerId="LiveId" clId="{1B2898EF-2D25-40F5-B0FA-55D6DBAA7B11}" dt="2023-11-13T00:24:15.014" v="485" actId="478"/>
          <ac:picMkLst>
            <pc:docMk/>
            <pc:sldMk cId="1184884871" sldId="639"/>
            <ac:picMk id="12" creationId="{7F7A2465-B6E4-7B2E-3008-E59569D103A8}"/>
          </ac:picMkLst>
        </pc:picChg>
        <pc:picChg chg="del mod topLvl">
          <ac:chgData name="miraj sinya" userId="9f99502c73333c07" providerId="LiveId" clId="{1B2898EF-2D25-40F5-B0FA-55D6DBAA7B11}" dt="2023-11-13T03:21:06.544" v="1255" actId="478"/>
          <ac:picMkLst>
            <pc:docMk/>
            <pc:sldMk cId="1184884871" sldId="639"/>
            <ac:picMk id="33" creationId="{AA39EC2C-3B88-BA45-961A-272A6EAD7753}"/>
          </ac:picMkLst>
        </pc:picChg>
        <pc:picChg chg="del mod topLvl">
          <ac:chgData name="miraj sinya" userId="9f99502c73333c07" providerId="LiveId" clId="{1B2898EF-2D25-40F5-B0FA-55D6DBAA7B11}" dt="2023-11-13T03:21:06.544" v="1255" actId="478"/>
          <ac:picMkLst>
            <pc:docMk/>
            <pc:sldMk cId="1184884871" sldId="639"/>
            <ac:picMk id="39" creationId="{939257AD-05F7-F28B-1869-205BF3ECFA15}"/>
          </ac:picMkLst>
        </pc:picChg>
        <pc:cxnChg chg="mod topLvl">
          <ac:chgData name="miraj sinya" userId="9f99502c73333c07" providerId="LiveId" clId="{1B2898EF-2D25-40F5-B0FA-55D6DBAA7B11}" dt="2023-11-13T05:11:56.198" v="3062" actId="164"/>
          <ac:cxnSpMkLst>
            <pc:docMk/>
            <pc:sldMk cId="1184884871" sldId="639"/>
            <ac:cxnSpMk id="9" creationId="{0BCFCE62-4CD6-B52E-1F5F-1BCD157AAE9D}"/>
          </ac:cxnSpMkLst>
        </pc:cxnChg>
        <pc:cxnChg chg="del mod topLvl">
          <ac:chgData name="miraj sinya" userId="9f99502c73333c07" providerId="LiveId" clId="{1B2898EF-2D25-40F5-B0FA-55D6DBAA7B11}" dt="2023-11-13T00:24:17.576" v="486" actId="478"/>
          <ac:cxnSpMkLst>
            <pc:docMk/>
            <pc:sldMk cId="1184884871" sldId="639"/>
            <ac:cxnSpMk id="15" creationId="{3E6A42B9-9A4A-276F-B393-4407984F5329}"/>
          </ac:cxnSpMkLst>
        </pc:cxnChg>
        <pc:cxnChg chg="del mod topLvl">
          <ac:chgData name="miraj sinya" userId="9f99502c73333c07" providerId="LiveId" clId="{1B2898EF-2D25-40F5-B0FA-55D6DBAA7B11}" dt="2023-11-13T00:24:15.014" v="485" actId="478"/>
          <ac:cxnSpMkLst>
            <pc:docMk/>
            <pc:sldMk cId="1184884871" sldId="639"/>
            <ac:cxnSpMk id="16" creationId="{6A3191F8-8028-E0C3-54C3-7122487D006E}"/>
          </ac:cxnSpMkLst>
        </pc:cxnChg>
        <pc:cxnChg chg="del mod topLvl">
          <ac:chgData name="miraj sinya" userId="9f99502c73333c07" providerId="LiveId" clId="{1B2898EF-2D25-40F5-B0FA-55D6DBAA7B11}" dt="2023-11-13T03:21:06.544" v="1255" actId="478"/>
          <ac:cxnSpMkLst>
            <pc:docMk/>
            <pc:sldMk cId="1184884871" sldId="639"/>
            <ac:cxnSpMk id="34" creationId="{086A4AA3-B307-6232-F5C3-B4CE6AAC500B}"/>
          </ac:cxnSpMkLst>
        </pc:cxnChg>
        <pc:cxnChg chg="mod">
          <ac:chgData name="miraj sinya" userId="9f99502c73333c07" providerId="LiveId" clId="{1B2898EF-2D25-40F5-B0FA-55D6DBAA7B11}" dt="2023-11-13T00:11:39.085" v="309"/>
          <ac:cxnSpMkLst>
            <pc:docMk/>
            <pc:sldMk cId="1184884871" sldId="639"/>
            <ac:cxnSpMk id="60" creationId="{7E99C1B5-ABE1-BDE2-7180-47B29C38E541}"/>
          </ac:cxnSpMkLst>
        </pc:cxnChg>
        <pc:cxnChg chg="mod">
          <ac:chgData name="miraj sinya" userId="9f99502c73333c07" providerId="LiveId" clId="{1B2898EF-2D25-40F5-B0FA-55D6DBAA7B11}" dt="2023-11-13T00:11:49.448" v="310"/>
          <ac:cxnSpMkLst>
            <pc:docMk/>
            <pc:sldMk cId="1184884871" sldId="639"/>
            <ac:cxnSpMk id="63" creationId="{AC9164A5-FDA7-197D-8FDF-3AB3A68BBEC9}"/>
          </ac:cxnSpMkLst>
        </pc:cxnChg>
        <pc:cxnChg chg="mod">
          <ac:chgData name="miraj sinya" userId="9f99502c73333c07" providerId="LiveId" clId="{1B2898EF-2D25-40F5-B0FA-55D6DBAA7B11}" dt="2023-11-13T03:30:00.881" v="1436" actId="404"/>
          <ac:cxnSpMkLst>
            <pc:docMk/>
            <pc:sldMk cId="1184884871" sldId="639"/>
            <ac:cxnSpMk id="66" creationId="{94743F69-DEC8-4422-7B57-C74BB4DF2807}"/>
          </ac:cxnSpMkLst>
        </pc:cxnChg>
        <pc:cxnChg chg="mod">
          <ac:chgData name="miraj sinya" userId="9f99502c73333c07" providerId="LiveId" clId="{1B2898EF-2D25-40F5-B0FA-55D6DBAA7B11}" dt="2023-11-13T03:30:00.881" v="1436" actId="404"/>
          <ac:cxnSpMkLst>
            <pc:docMk/>
            <pc:sldMk cId="1184884871" sldId="639"/>
            <ac:cxnSpMk id="69" creationId="{C50DC758-8E57-DFFB-E8C3-1AC71CF76ADD}"/>
          </ac:cxnSpMkLst>
        </pc:cxnChg>
        <pc:cxnChg chg="add del mod topLvl">
          <ac:chgData name="miraj sinya" userId="9f99502c73333c07" providerId="LiveId" clId="{1B2898EF-2D25-40F5-B0FA-55D6DBAA7B11}" dt="2023-11-13T03:24:07.236" v="1332" actId="478"/>
          <ac:cxnSpMkLst>
            <pc:docMk/>
            <pc:sldMk cId="1184884871" sldId="639"/>
            <ac:cxnSpMk id="78" creationId="{74BCFD67-E481-C943-7C25-A183D33C1D2A}"/>
          </ac:cxnSpMkLst>
        </pc:cxnChg>
        <pc:cxnChg chg="add mod topLvl">
          <ac:chgData name="miraj sinya" userId="9f99502c73333c07" providerId="LiveId" clId="{1B2898EF-2D25-40F5-B0FA-55D6DBAA7B11}" dt="2023-11-13T05:11:56.198" v="3062" actId="164"/>
          <ac:cxnSpMkLst>
            <pc:docMk/>
            <pc:sldMk cId="1184884871" sldId="639"/>
            <ac:cxnSpMk id="79" creationId="{07CA3999-76A8-293F-4A35-705987BB9150}"/>
          </ac:cxnSpMkLst>
        </pc:cxnChg>
        <pc:cxnChg chg="add del mod topLvl">
          <ac:chgData name="miraj sinya" userId="9f99502c73333c07" providerId="LiveId" clId="{1B2898EF-2D25-40F5-B0FA-55D6DBAA7B11}" dt="2023-11-13T03:24:28.997" v="1336" actId="478"/>
          <ac:cxnSpMkLst>
            <pc:docMk/>
            <pc:sldMk cId="1184884871" sldId="639"/>
            <ac:cxnSpMk id="80" creationId="{09E932A3-48A7-9C34-3547-8C7DB7CFBFAE}"/>
          </ac:cxnSpMkLst>
        </pc:cxnChg>
        <pc:cxnChg chg="add mod">
          <ac:chgData name="miraj sinya" userId="9f99502c73333c07" providerId="LiveId" clId="{1B2898EF-2D25-40F5-B0FA-55D6DBAA7B11}" dt="2023-11-13T00:40:15.181" v="829" actId="571"/>
          <ac:cxnSpMkLst>
            <pc:docMk/>
            <pc:sldMk cId="1184884871" sldId="639"/>
            <ac:cxnSpMk id="85" creationId="{23275D6F-05F3-1788-5758-098BAA054F19}"/>
          </ac:cxnSpMkLst>
        </pc:cxnChg>
        <pc:cxnChg chg="add del">
          <ac:chgData name="miraj sinya" userId="9f99502c73333c07" providerId="LiveId" clId="{1B2898EF-2D25-40F5-B0FA-55D6DBAA7B11}" dt="2023-11-13T03:00:24.358" v="1013" actId="478"/>
          <ac:cxnSpMkLst>
            <pc:docMk/>
            <pc:sldMk cId="1184884871" sldId="639"/>
            <ac:cxnSpMk id="94" creationId="{814B7B93-C072-DBA6-ED74-6DC5C94F5D60}"/>
          </ac:cxnSpMkLst>
        </pc:cxnChg>
        <pc:cxnChg chg="add mod topLvl">
          <ac:chgData name="miraj sinya" userId="9f99502c73333c07" providerId="LiveId" clId="{1B2898EF-2D25-40F5-B0FA-55D6DBAA7B11}" dt="2023-11-13T05:11:56.198" v="3062" actId="164"/>
          <ac:cxnSpMkLst>
            <pc:docMk/>
            <pc:sldMk cId="1184884871" sldId="639"/>
            <ac:cxnSpMk id="96" creationId="{BC4817FE-527C-1E11-DD37-AA896560A66E}"/>
          </ac:cxnSpMkLst>
        </pc:cxnChg>
        <pc:cxnChg chg="add mod topLvl">
          <ac:chgData name="miraj sinya" userId="9f99502c73333c07" providerId="LiveId" clId="{1B2898EF-2D25-40F5-B0FA-55D6DBAA7B11}" dt="2023-11-13T05:11:56.198" v="3062" actId="164"/>
          <ac:cxnSpMkLst>
            <pc:docMk/>
            <pc:sldMk cId="1184884871" sldId="639"/>
            <ac:cxnSpMk id="99" creationId="{AEFE3441-2E99-F5EB-CED5-AC6CD0DEB805}"/>
          </ac:cxnSpMkLst>
        </pc:cxnChg>
        <pc:cxnChg chg="add mod topLvl">
          <ac:chgData name="miraj sinya" userId="9f99502c73333c07" providerId="LiveId" clId="{1B2898EF-2D25-40F5-B0FA-55D6DBAA7B11}" dt="2023-11-13T05:11:56.198" v="3062" actId="164"/>
          <ac:cxnSpMkLst>
            <pc:docMk/>
            <pc:sldMk cId="1184884871" sldId="639"/>
            <ac:cxnSpMk id="115" creationId="{EE6272F7-FF09-7412-45AA-432F4B44B119}"/>
          </ac:cxnSpMkLst>
        </pc:cxnChg>
        <pc:cxnChg chg="add mod topLvl">
          <ac:chgData name="miraj sinya" userId="9f99502c73333c07" providerId="LiveId" clId="{1B2898EF-2D25-40F5-B0FA-55D6DBAA7B11}" dt="2023-11-13T05:11:56.198" v="3062" actId="164"/>
          <ac:cxnSpMkLst>
            <pc:docMk/>
            <pc:sldMk cId="1184884871" sldId="639"/>
            <ac:cxnSpMk id="119" creationId="{7FAFAB20-2A9F-E8ED-6BF1-DCC355039EED}"/>
          </ac:cxnSpMkLst>
        </pc:cxnChg>
        <pc:cxnChg chg="add del mod">
          <ac:chgData name="miraj sinya" userId="9f99502c73333c07" providerId="LiveId" clId="{1B2898EF-2D25-40F5-B0FA-55D6DBAA7B11}" dt="2023-11-13T03:22:03.215" v="1278" actId="478"/>
          <ac:cxnSpMkLst>
            <pc:docMk/>
            <pc:sldMk cId="1184884871" sldId="639"/>
            <ac:cxnSpMk id="161" creationId="{77A4675F-B573-95E1-577D-26036291E2E3}"/>
          </ac:cxnSpMkLst>
        </pc:cxnChg>
        <pc:cxnChg chg="add mod">
          <ac:chgData name="miraj sinya" userId="9f99502c73333c07" providerId="LiveId" clId="{1B2898EF-2D25-40F5-B0FA-55D6DBAA7B11}" dt="2023-11-13T05:11:49.651" v="3061" actId="165"/>
          <ac:cxnSpMkLst>
            <pc:docMk/>
            <pc:sldMk cId="1184884871" sldId="639"/>
            <ac:cxnSpMk id="163" creationId="{28727743-CAB9-6CC4-3971-6BA29088A6D4}"/>
          </ac:cxnSpMkLst>
        </pc:cxnChg>
        <pc:cxnChg chg="add mod topLvl">
          <ac:chgData name="miraj sinya" userId="9f99502c73333c07" providerId="LiveId" clId="{1B2898EF-2D25-40F5-B0FA-55D6DBAA7B11}" dt="2023-11-13T05:11:49.651" v="3061" actId="165"/>
          <ac:cxnSpMkLst>
            <pc:docMk/>
            <pc:sldMk cId="1184884871" sldId="639"/>
            <ac:cxnSpMk id="166" creationId="{80EEEA00-EBA0-A7E0-B49F-04E88C965F10}"/>
          </ac:cxnSpMkLst>
        </pc:cxnChg>
        <pc:cxnChg chg="add mod topLvl">
          <ac:chgData name="miraj sinya" userId="9f99502c73333c07" providerId="LiveId" clId="{1B2898EF-2D25-40F5-B0FA-55D6DBAA7B11}" dt="2023-11-13T05:11:56.198" v="3062" actId="164"/>
          <ac:cxnSpMkLst>
            <pc:docMk/>
            <pc:sldMk cId="1184884871" sldId="639"/>
            <ac:cxnSpMk id="167" creationId="{3D6BBCD9-FF01-0806-1029-B62D16915B12}"/>
          </ac:cxnSpMkLst>
        </pc:cxnChg>
        <pc:cxnChg chg="add mod topLvl">
          <ac:chgData name="miraj sinya" userId="9f99502c73333c07" providerId="LiveId" clId="{1B2898EF-2D25-40F5-B0FA-55D6DBAA7B11}" dt="2023-11-13T05:11:56.198" v="3062" actId="164"/>
          <ac:cxnSpMkLst>
            <pc:docMk/>
            <pc:sldMk cId="1184884871" sldId="639"/>
            <ac:cxnSpMk id="169" creationId="{CA3376D2-307E-C248-25EB-9E897CCBBB94}"/>
          </ac:cxnSpMkLst>
        </pc:cxnChg>
        <pc:cxnChg chg="add mod">
          <ac:chgData name="miraj sinya" userId="9f99502c73333c07" providerId="LiveId" clId="{1B2898EF-2D25-40F5-B0FA-55D6DBAA7B11}" dt="2023-11-13T05:32:15.295" v="3637" actId="465"/>
          <ac:cxnSpMkLst>
            <pc:docMk/>
            <pc:sldMk cId="1184884871" sldId="639"/>
            <ac:cxnSpMk id="184" creationId="{23EA5641-407F-F6F1-740B-2C78A8C9BE95}"/>
          </ac:cxnSpMkLst>
        </pc:cxnChg>
      </pc:sldChg>
      <pc:sldChg chg="addSp delSp modSp add del mod">
        <pc:chgData name="miraj sinya" userId="9f99502c73333c07" providerId="LiveId" clId="{1B2898EF-2D25-40F5-B0FA-55D6DBAA7B11}" dt="2023-11-13T05:36:18.582" v="3652" actId="47"/>
        <pc:sldMkLst>
          <pc:docMk/>
          <pc:sldMk cId="426031164" sldId="640"/>
        </pc:sldMkLst>
        <pc:spChg chg="mod">
          <ac:chgData name="miraj sinya" userId="9f99502c73333c07" providerId="LiveId" clId="{1B2898EF-2D25-40F5-B0FA-55D6DBAA7B11}" dt="2023-11-13T00:47:21.421" v="918" actId="20577"/>
          <ac:spMkLst>
            <pc:docMk/>
            <pc:sldMk cId="426031164" sldId="640"/>
            <ac:spMk id="2" creationId="{2BD9482C-9809-78C2-DBBB-630F5596988E}"/>
          </ac:spMkLst>
        </pc:spChg>
        <pc:spChg chg="add del">
          <ac:chgData name="miraj sinya" userId="9f99502c73333c07" providerId="LiveId" clId="{1B2898EF-2D25-40F5-B0FA-55D6DBAA7B11}" dt="2023-11-13T05:16:13.934" v="3106" actId="478"/>
          <ac:spMkLst>
            <pc:docMk/>
            <pc:sldMk cId="426031164" sldId="640"/>
            <ac:spMk id="18" creationId="{4CDD7EDA-8C8C-AD0F-5282-86227D3C00F5}"/>
          </ac:spMkLst>
        </pc:spChg>
        <pc:spChg chg="add del">
          <ac:chgData name="miraj sinya" userId="9f99502c73333c07" providerId="LiveId" clId="{1B2898EF-2D25-40F5-B0FA-55D6DBAA7B11}" dt="2023-11-13T05:16:13.934" v="3106" actId="478"/>
          <ac:spMkLst>
            <pc:docMk/>
            <pc:sldMk cId="426031164" sldId="640"/>
            <ac:spMk id="19" creationId="{FB22A53D-A04E-4953-5B43-167D0D623473}"/>
          </ac:spMkLst>
        </pc:spChg>
        <pc:spChg chg="add del">
          <ac:chgData name="miraj sinya" userId="9f99502c73333c07" providerId="LiveId" clId="{1B2898EF-2D25-40F5-B0FA-55D6DBAA7B11}" dt="2023-11-13T05:16:13.934" v="3106" actId="478"/>
          <ac:spMkLst>
            <pc:docMk/>
            <pc:sldMk cId="426031164" sldId="640"/>
            <ac:spMk id="21" creationId="{C0803D98-1DF9-CC24-344C-E496171D5A11}"/>
          </ac:spMkLst>
        </pc:spChg>
        <pc:spChg chg="add del">
          <ac:chgData name="miraj sinya" userId="9f99502c73333c07" providerId="LiveId" clId="{1B2898EF-2D25-40F5-B0FA-55D6DBAA7B11}" dt="2023-11-13T05:16:13.934" v="3106" actId="478"/>
          <ac:spMkLst>
            <pc:docMk/>
            <pc:sldMk cId="426031164" sldId="640"/>
            <ac:spMk id="22" creationId="{F9FC01F3-5DBE-BF2F-3B9D-612BD37BD42A}"/>
          </ac:spMkLst>
        </pc:spChg>
        <pc:spChg chg="add del">
          <ac:chgData name="miraj sinya" userId="9f99502c73333c07" providerId="LiveId" clId="{1B2898EF-2D25-40F5-B0FA-55D6DBAA7B11}" dt="2023-11-13T05:16:13.934" v="3106" actId="478"/>
          <ac:spMkLst>
            <pc:docMk/>
            <pc:sldMk cId="426031164" sldId="640"/>
            <ac:spMk id="23" creationId="{2255016D-FA10-A3B5-4756-9C19107C4536}"/>
          </ac:spMkLst>
        </pc:spChg>
        <pc:spChg chg="add del">
          <ac:chgData name="miraj sinya" userId="9f99502c73333c07" providerId="LiveId" clId="{1B2898EF-2D25-40F5-B0FA-55D6DBAA7B11}" dt="2023-11-13T05:16:13.934" v="3106" actId="478"/>
          <ac:spMkLst>
            <pc:docMk/>
            <pc:sldMk cId="426031164" sldId="640"/>
            <ac:spMk id="24" creationId="{06BF219B-8D1E-9BAC-8D5B-8257AADA63B7}"/>
          </ac:spMkLst>
        </pc:spChg>
        <pc:spChg chg="add del">
          <ac:chgData name="miraj sinya" userId="9f99502c73333c07" providerId="LiveId" clId="{1B2898EF-2D25-40F5-B0FA-55D6DBAA7B11}" dt="2023-11-13T05:16:13.934" v="3106" actId="478"/>
          <ac:spMkLst>
            <pc:docMk/>
            <pc:sldMk cId="426031164" sldId="640"/>
            <ac:spMk id="25" creationId="{FE19F466-67D7-344B-4BC6-2E135D578136}"/>
          </ac:spMkLst>
        </pc:spChg>
        <pc:spChg chg="add del">
          <ac:chgData name="miraj sinya" userId="9f99502c73333c07" providerId="LiveId" clId="{1B2898EF-2D25-40F5-B0FA-55D6DBAA7B11}" dt="2023-11-13T05:16:13.934" v="3106" actId="478"/>
          <ac:spMkLst>
            <pc:docMk/>
            <pc:sldMk cId="426031164" sldId="640"/>
            <ac:spMk id="26" creationId="{FC04F0CD-AF27-24D8-3E15-A23A7BA88C80}"/>
          </ac:spMkLst>
        </pc:spChg>
        <pc:grpChg chg="add del">
          <ac:chgData name="miraj sinya" userId="9f99502c73333c07" providerId="LiveId" clId="{1B2898EF-2D25-40F5-B0FA-55D6DBAA7B11}" dt="2023-11-13T05:16:13.934" v="3106" actId="478"/>
          <ac:grpSpMkLst>
            <pc:docMk/>
            <pc:sldMk cId="426031164" sldId="640"/>
            <ac:grpSpMk id="30" creationId="{1EFF5BE0-9F61-8B4E-45CE-3EBACE68EF93}"/>
          </ac:grpSpMkLst>
        </pc:grpChg>
        <pc:picChg chg="add del">
          <ac:chgData name="miraj sinya" userId="9f99502c73333c07" providerId="LiveId" clId="{1B2898EF-2D25-40F5-B0FA-55D6DBAA7B11}" dt="2023-11-13T05:16:13.934" v="3106" actId="478"/>
          <ac:picMkLst>
            <pc:docMk/>
            <pc:sldMk cId="426031164" sldId="640"/>
            <ac:picMk id="10" creationId="{1A166E08-11EB-34DC-E7A9-6E5BAF668496}"/>
          </ac:picMkLst>
        </pc:picChg>
        <pc:picChg chg="add del">
          <ac:chgData name="miraj sinya" userId="9f99502c73333c07" providerId="LiveId" clId="{1B2898EF-2D25-40F5-B0FA-55D6DBAA7B11}" dt="2023-11-13T05:16:13.934" v="3106" actId="478"/>
          <ac:picMkLst>
            <pc:docMk/>
            <pc:sldMk cId="426031164" sldId="640"/>
            <ac:picMk id="12" creationId="{7F7A2465-B6E4-7B2E-3008-E59569D103A8}"/>
          </ac:picMkLst>
        </pc:picChg>
        <pc:cxnChg chg="add del">
          <ac:chgData name="miraj sinya" userId="9f99502c73333c07" providerId="LiveId" clId="{1B2898EF-2D25-40F5-B0FA-55D6DBAA7B11}" dt="2023-11-13T05:16:13.934" v="3106" actId="478"/>
          <ac:cxnSpMkLst>
            <pc:docMk/>
            <pc:sldMk cId="426031164" sldId="640"/>
            <ac:cxnSpMk id="9" creationId="{0BCFCE62-4CD6-B52E-1F5F-1BCD157AAE9D}"/>
          </ac:cxnSpMkLst>
        </pc:cxnChg>
        <pc:cxnChg chg="add del">
          <ac:chgData name="miraj sinya" userId="9f99502c73333c07" providerId="LiveId" clId="{1B2898EF-2D25-40F5-B0FA-55D6DBAA7B11}" dt="2023-11-13T05:16:13.934" v="3106" actId="478"/>
          <ac:cxnSpMkLst>
            <pc:docMk/>
            <pc:sldMk cId="426031164" sldId="640"/>
            <ac:cxnSpMk id="15" creationId="{3E6A42B9-9A4A-276F-B393-4407984F5329}"/>
          </ac:cxnSpMkLst>
        </pc:cxnChg>
        <pc:cxnChg chg="add del mod">
          <ac:chgData name="miraj sinya" userId="9f99502c73333c07" providerId="LiveId" clId="{1B2898EF-2D25-40F5-B0FA-55D6DBAA7B11}" dt="2023-11-13T05:16:13.934" v="3106" actId="478"/>
          <ac:cxnSpMkLst>
            <pc:docMk/>
            <pc:sldMk cId="426031164" sldId="640"/>
            <ac:cxnSpMk id="16" creationId="{6A3191F8-8028-E0C3-54C3-7122487D006E}"/>
          </ac:cxnSpMkLst>
        </pc:cxnChg>
        <pc:cxnChg chg="mod">
          <ac:chgData name="miraj sinya" userId="9f99502c73333c07" providerId="LiveId" clId="{1B2898EF-2D25-40F5-B0FA-55D6DBAA7B11}" dt="2023-11-13T05:16:13.934" v="3106" actId="478"/>
          <ac:cxnSpMkLst>
            <pc:docMk/>
            <pc:sldMk cId="426031164" sldId="640"/>
            <ac:cxnSpMk id="34" creationId="{086A4AA3-B307-6232-F5C3-B4CE6AAC500B}"/>
          </ac:cxnSpMkLst>
        </pc:cxnChg>
      </pc:sldChg>
      <pc:sldChg chg="addSp delSp modSp add mod">
        <pc:chgData name="miraj sinya" userId="9f99502c73333c07" providerId="LiveId" clId="{1B2898EF-2D25-40F5-B0FA-55D6DBAA7B11}" dt="2023-11-13T05:35:46.646" v="3648" actId="1076"/>
        <pc:sldMkLst>
          <pc:docMk/>
          <pc:sldMk cId="2997694625" sldId="641"/>
        </pc:sldMkLst>
        <pc:spChg chg="mod">
          <ac:chgData name="miraj sinya" userId="9f99502c73333c07" providerId="LiveId" clId="{1B2898EF-2D25-40F5-B0FA-55D6DBAA7B11}" dt="2023-11-13T03:52:13.480" v="1661" actId="20577"/>
          <ac:spMkLst>
            <pc:docMk/>
            <pc:sldMk cId="2997694625" sldId="641"/>
            <ac:spMk id="2" creationId="{2BD9482C-9809-78C2-DBBB-630F5596988E}"/>
          </ac:spMkLst>
        </pc:spChg>
        <pc:spChg chg="add mo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4" creationId="{6BCDE966-E97A-791B-8865-231AF678F16A}"/>
          </ac:spMkLst>
        </pc:spChg>
        <pc:spChg chg="mod">
          <ac:chgData name="miraj sinya" userId="9f99502c73333c07" providerId="LiveId" clId="{1B2898EF-2D25-40F5-B0FA-55D6DBAA7B11}" dt="2023-11-13T04:43:14.965" v="2679"/>
          <ac:spMkLst>
            <pc:docMk/>
            <pc:sldMk cId="2997694625" sldId="641"/>
            <ac:spMk id="7" creationId="{6C060E74-135D-9D00-A060-182B3DFC107B}"/>
          </ac:spMkLst>
        </pc:spChg>
        <pc:spChg chg="mod">
          <ac:chgData name="miraj sinya" userId="9f99502c73333c07" providerId="LiveId" clId="{1B2898EF-2D25-40F5-B0FA-55D6DBAA7B11}" dt="2023-11-13T04:43:14.965" v="2679"/>
          <ac:spMkLst>
            <pc:docMk/>
            <pc:sldMk cId="2997694625" sldId="641"/>
            <ac:spMk id="8" creationId="{9405E6F8-FB0C-B5AA-2522-C28378EA6CC0}"/>
          </ac:spMkLst>
        </pc:spChg>
        <pc:spChg chg="mod ord topLvl">
          <ac:chgData name="miraj sinya" userId="9f99502c73333c07" providerId="LiveId" clId="{1B2898EF-2D25-40F5-B0FA-55D6DBAA7B11}" dt="2023-11-13T05:10:59.558" v="3054" actId="164"/>
          <ac:spMkLst>
            <pc:docMk/>
            <pc:sldMk cId="2997694625" sldId="641"/>
            <ac:spMk id="12" creationId="{C30DE5CE-97D0-A9EF-1F20-C64724617098}"/>
          </ac:spMkLst>
        </pc:spChg>
        <pc:spChg chg="mod topLvl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13" creationId="{BDD97CC9-B18D-CDFE-4F1E-82756C8FFA00}"/>
          </ac:spMkLst>
        </pc:spChg>
        <pc:spChg chg="mod topLvl">
          <ac:chgData name="miraj sinya" userId="9f99502c73333c07" providerId="LiveId" clId="{1B2898EF-2D25-40F5-B0FA-55D6DBAA7B11}" dt="2023-11-13T05:24:21.686" v="3307" actId="207"/>
          <ac:spMkLst>
            <pc:docMk/>
            <pc:sldMk cId="2997694625" sldId="641"/>
            <ac:spMk id="14" creationId="{86ED8D9F-E166-3C70-0511-75B76D48672E}"/>
          </ac:spMkLst>
        </pc:spChg>
        <pc:spChg chg="mod">
          <ac:chgData name="miraj sinya" userId="9f99502c73333c07" providerId="LiveId" clId="{1B2898EF-2D25-40F5-B0FA-55D6DBAA7B11}" dt="2023-11-13T05:04:35.377" v="2924" actId="14100"/>
          <ac:spMkLst>
            <pc:docMk/>
            <pc:sldMk cId="2997694625" sldId="641"/>
            <ac:spMk id="17" creationId="{EE880E46-8B0F-F359-E1DE-64A52A76CA80}"/>
          </ac:spMkLst>
        </pc:spChg>
        <pc:spChg chg="mod">
          <ac:chgData name="miraj sinya" userId="9f99502c73333c07" providerId="LiveId" clId="{1B2898EF-2D25-40F5-B0FA-55D6DBAA7B11}" dt="2023-11-13T04:42:57.179" v="2674" actId="164"/>
          <ac:spMkLst>
            <pc:docMk/>
            <pc:sldMk cId="2997694625" sldId="641"/>
            <ac:spMk id="18" creationId="{4CDD7EDA-8C8C-AD0F-5282-86227D3C00F5}"/>
          </ac:spMkLst>
        </pc:spChg>
        <pc:spChg chg="mod">
          <ac:chgData name="miraj sinya" userId="9f99502c73333c07" providerId="LiveId" clId="{1B2898EF-2D25-40F5-B0FA-55D6DBAA7B11}" dt="2023-11-13T04:42:57.179" v="2674" actId="164"/>
          <ac:spMkLst>
            <pc:docMk/>
            <pc:sldMk cId="2997694625" sldId="641"/>
            <ac:spMk id="19" creationId="{FB22A53D-A04E-4953-5B43-167D0D623473}"/>
          </ac:spMkLst>
        </pc:spChg>
        <pc:spChg chg="mod">
          <ac:chgData name="miraj sinya" userId="9f99502c73333c07" providerId="LiveId" clId="{1B2898EF-2D25-40F5-B0FA-55D6DBAA7B11}" dt="2023-11-13T04:55:33.403" v="2825" actId="404"/>
          <ac:spMkLst>
            <pc:docMk/>
            <pc:sldMk cId="2997694625" sldId="641"/>
            <ac:spMk id="20" creationId="{2053767D-DD50-D5B3-911B-CFC1EB598A88}"/>
          </ac:spMkLst>
        </pc:spChg>
        <pc:spChg chg="add del mod">
          <ac:chgData name="miraj sinya" userId="9f99502c73333c07" providerId="LiveId" clId="{1B2898EF-2D25-40F5-B0FA-55D6DBAA7B11}" dt="2023-11-13T05:33:03.499" v="3640" actId="478"/>
          <ac:spMkLst>
            <pc:docMk/>
            <pc:sldMk cId="2997694625" sldId="641"/>
            <ac:spMk id="22" creationId="{377DB5AB-26BC-34D2-3043-07DD869576DC}"/>
          </ac:spMkLst>
        </pc:spChg>
        <pc:spChg chg="add del mod">
          <ac:chgData name="miraj sinya" userId="9f99502c73333c07" providerId="LiveId" clId="{1B2898EF-2D25-40F5-B0FA-55D6DBAA7B11}" dt="2023-11-13T05:33:03.499" v="3640" actId="478"/>
          <ac:spMkLst>
            <pc:docMk/>
            <pc:sldMk cId="2997694625" sldId="641"/>
            <ac:spMk id="23" creationId="{D1C81876-DE97-BF2E-C6EF-55FB14559CA7}"/>
          </ac:spMkLst>
        </pc:spChg>
        <pc:spChg chg="add del mod">
          <ac:chgData name="miraj sinya" userId="9f99502c73333c07" providerId="LiveId" clId="{1B2898EF-2D25-40F5-B0FA-55D6DBAA7B11}" dt="2023-11-13T05:33:03.499" v="3640" actId="478"/>
          <ac:spMkLst>
            <pc:docMk/>
            <pc:sldMk cId="2997694625" sldId="641"/>
            <ac:spMk id="25" creationId="{A8C9D002-33FD-BD16-3C81-25CF423E46E6}"/>
          </ac:spMkLst>
        </pc:spChg>
        <pc:spChg chg="add del mod">
          <ac:chgData name="miraj sinya" userId="9f99502c73333c07" providerId="LiveId" clId="{1B2898EF-2D25-40F5-B0FA-55D6DBAA7B11}" dt="2023-11-13T05:33:03.499" v="3640" actId="478"/>
          <ac:spMkLst>
            <pc:docMk/>
            <pc:sldMk cId="2997694625" sldId="641"/>
            <ac:spMk id="26" creationId="{ECDFF8EB-9C29-11B1-8A22-CB535C6EF8BC}"/>
          </ac:spMkLst>
        </pc:spChg>
        <pc:spChg chg="add mo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27" creationId="{079C5BB0-C600-D55F-B82B-A9A00C8AEEFB}"/>
          </ac:spMkLst>
        </pc:spChg>
        <pc:spChg chg="add mod">
          <ac:chgData name="miraj sinya" userId="9f99502c73333c07" providerId="LiveId" clId="{1B2898EF-2D25-40F5-B0FA-55D6DBAA7B11}" dt="2023-11-13T04:56:06.289" v="2848" actId="164"/>
          <ac:spMkLst>
            <pc:docMk/>
            <pc:sldMk cId="2997694625" sldId="641"/>
            <ac:spMk id="28" creationId="{074FC006-B08A-C260-8F1C-EF5BDDFA5D19}"/>
          </ac:spMkLst>
        </pc:spChg>
        <pc:spChg chg="del">
          <ac:chgData name="miraj sinya" userId="9f99502c73333c07" providerId="LiveId" clId="{1B2898EF-2D25-40F5-B0FA-55D6DBAA7B11}" dt="2023-11-13T03:59:10.816" v="1702" actId="478"/>
          <ac:spMkLst>
            <pc:docMk/>
            <pc:sldMk cId="2997694625" sldId="641"/>
            <ac:spMk id="40" creationId="{EABBFF8A-53D4-3454-4257-3DE9AED84EE2}"/>
          </ac:spMkLst>
        </pc:spChg>
        <pc:spChg chg="del">
          <ac:chgData name="miraj sinya" userId="9f99502c73333c07" providerId="LiveId" clId="{1B2898EF-2D25-40F5-B0FA-55D6DBAA7B11}" dt="2023-11-13T03:59:10.816" v="1702" actId="478"/>
          <ac:spMkLst>
            <pc:docMk/>
            <pc:sldMk cId="2997694625" sldId="641"/>
            <ac:spMk id="41" creationId="{2A8F743F-99E9-6C6F-E803-3453D525ECCE}"/>
          </ac:spMkLst>
        </pc:spChg>
        <pc:spChg chg="del">
          <ac:chgData name="miraj sinya" userId="9f99502c73333c07" providerId="LiveId" clId="{1B2898EF-2D25-40F5-B0FA-55D6DBAA7B11}" dt="2023-11-13T03:59:10.816" v="1702" actId="478"/>
          <ac:spMkLst>
            <pc:docMk/>
            <pc:sldMk cId="2997694625" sldId="641"/>
            <ac:spMk id="42" creationId="{7F934062-A577-2118-6F49-333C162E9E37}"/>
          </ac:spMkLst>
        </pc:spChg>
        <pc:spChg chg="del">
          <ac:chgData name="miraj sinya" userId="9f99502c73333c07" providerId="LiveId" clId="{1B2898EF-2D25-40F5-B0FA-55D6DBAA7B11}" dt="2023-11-13T03:59:10.816" v="1702" actId="478"/>
          <ac:spMkLst>
            <pc:docMk/>
            <pc:sldMk cId="2997694625" sldId="641"/>
            <ac:spMk id="43" creationId="{087AFCF6-88E3-4542-C739-0A82F6C7DA54}"/>
          </ac:spMkLst>
        </pc:spChg>
        <pc:spChg chg="add mod or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48" creationId="{3399B56E-A326-7D3A-ACC4-1E3EF0518574}"/>
          </ac:spMkLst>
        </pc:spChg>
        <pc:spChg chg="mo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52" creationId="{E8CD56CA-739E-FFC8-3391-AF8A828C11BD}"/>
          </ac:spMkLst>
        </pc:spChg>
        <pc:spChg chg="del">
          <ac:chgData name="miraj sinya" userId="9f99502c73333c07" providerId="LiveId" clId="{1B2898EF-2D25-40F5-B0FA-55D6DBAA7B11}" dt="2023-11-13T03:59:10.816" v="1702" actId="478"/>
          <ac:spMkLst>
            <pc:docMk/>
            <pc:sldMk cId="2997694625" sldId="641"/>
            <ac:spMk id="53" creationId="{04827F38-AFCA-AA23-5A08-047769B7F99D}"/>
          </ac:spMkLst>
        </pc:spChg>
        <pc:spChg chg="del">
          <ac:chgData name="miraj sinya" userId="9f99502c73333c07" providerId="LiveId" clId="{1B2898EF-2D25-40F5-B0FA-55D6DBAA7B11}" dt="2023-11-13T03:59:10.816" v="1702" actId="478"/>
          <ac:spMkLst>
            <pc:docMk/>
            <pc:sldMk cId="2997694625" sldId="641"/>
            <ac:spMk id="54" creationId="{F114D30D-22FA-46FD-205D-F2D40DC76784}"/>
          </ac:spMkLst>
        </pc:spChg>
        <pc:spChg chg="del">
          <ac:chgData name="miraj sinya" userId="9f99502c73333c07" providerId="LiveId" clId="{1B2898EF-2D25-40F5-B0FA-55D6DBAA7B11}" dt="2023-11-13T03:59:10.816" v="1702" actId="478"/>
          <ac:spMkLst>
            <pc:docMk/>
            <pc:sldMk cId="2997694625" sldId="641"/>
            <ac:spMk id="55" creationId="{A93A7499-5BD5-1D2D-B671-E18D1ABC765C}"/>
          </ac:spMkLst>
        </pc:spChg>
        <pc:spChg chg="add mod">
          <ac:chgData name="miraj sinya" userId="9f99502c73333c07" providerId="LiveId" clId="{1B2898EF-2D25-40F5-B0FA-55D6DBAA7B11}" dt="2023-11-13T05:13:56.867" v="3089" actId="1076"/>
          <ac:spMkLst>
            <pc:docMk/>
            <pc:sldMk cId="2997694625" sldId="641"/>
            <ac:spMk id="58" creationId="{301D4BE1-AC57-48CD-A990-EC769481884D}"/>
          </ac:spMkLst>
        </pc:spChg>
        <pc:spChg chg="add mod or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63" creationId="{BA635195-BCF6-2392-0F0E-694BA74849D6}"/>
          </ac:spMkLst>
        </pc:spChg>
        <pc:spChg chg="mod">
          <ac:chgData name="miraj sinya" userId="9f99502c73333c07" providerId="LiveId" clId="{1B2898EF-2D25-40F5-B0FA-55D6DBAA7B11}" dt="2023-11-13T04:45:12.642" v="2734" actId="164"/>
          <ac:spMkLst>
            <pc:docMk/>
            <pc:sldMk cId="2997694625" sldId="641"/>
            <ac:spMk id="72" creationId="{C5A03A19-CCC4-1619-1E8F-7BFA37864BC2}"/>
          </ac:spMkLst>
        </pc:spChg>
        <pc:spChg chg="mod ord topLvl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73" creationId="{0B0CFEFC-3C64-163A-6E06-35182CF99097}"/>
          </ac:spMkLst>
        </pc:spChg>
        <pc:spChg chg="mod topLvl">
          <ac:chgData name="miraj sinya" userId="9f99502c73333c07" providerId="LiveId" clId="{1B2898EF-2D25-40F5-B0FA-55D6DBAA7B11}" dt="2023-11-13T05:35:46.646" v="3648" actId="1076"/>
          <ac:spMkLst>
            <pc:docMk/>
            <pc:sldMk cId="2997694625" sldId="641"/>
            <ac:spMk id="75" creationId="{EDE135B7-BE7D-C471-8D4B-C552FBE8878B}"/>
          </ac:spMkLst>
        </pc:spChg>
        <pc:spChg chg="del mod">
          <ac:chgData name="miraj sinya" userId="9f99502c73333c07" providerId="LiveId" clId="{1B2898EF-2D25-40F5-B0FA-55D6DBAA7B11}" dt="2023-11-13T04:57:59.346" v="2862" actId="478"/>
          <ac:spMkLst>
            <pc:docMk/>
            <pc:sldMk cId="2997694625" sldId="641"/>
            <ac:spMk id="76" creationId="{AD95EA41-F21D-88C3-4FEC-A3E90B1A483D}"/>
          </ac:spMkLst>
        </pc:spChg>
        <pc:spChg chg="mod">
          <ac:chgData name="miraj sinya" userId="9f99502c73333c07" providerId="LiveId" clId="{1B2898EF-2D25-40F5-B0FA-55D6DBAA7B11}" dt="2023-11-13T04:45:12.642" v="2734" actId="164"/>
          <ac:spMkLst>
            <pc:docMk/>
            <pc:sldMk cId="2997694625" sldId="641"/>
            <ac:spMk id="77" creationId="{8D17EDA9-1791-E364-7E75-1AB06709E60E}"/>
          </ac:spMkLst>
        </pc:spChg>
        <pc:spChg chg="del mod">
          <ac:chgData name="miraj sinya" userId="9f99502c73333c07" providerId="LiveId" clId="{1B2898EF-2D25-40F5-B0FA-55D6DBAA7B11}" dt="2023-11-13T04:57:56.649" v="2860" actId="478"/>
          <ac:spMkLst>
            <pc:docMk/>
            <pc:sldMk cId="2997694625" sldId="641"/>
            <ac:spMk id="81" creationId="{22276677-B73D-A8E3-7DC8-729041EF94B9}"/>
          </ac:spMkLst>
        </pc:spChg>
        <pc:spChg chg="del mod topLvl">
          <ac:chgData name="miraj sinya" userId="9f99502c73333c07" providerId="LiveId" clId="{1B2898EF-2D25-40F5-B0FA-55D6DBAA7B11}" dt="2023-11-13T05:12:56.776" v="3081" actId="478"/>
          <ac:spMkLst>
            <pc:docMk/>
            <pc:sldMk cId="2997694625" sldId="641"/>
            <ac:spMk id="82" creationId="{A3D82430-26B0-9A33-318E-E220A859D2CA}"/>
          </ac:spMkLst>
        </pc:spChg>
        <pc:spChg chg="del mod topLvl">
          <ac:chgData name="miraj sinya" userId="9f99502c73333c07" providerId="LiveId" clId="{1B2898EF-2D25-40F5-B0FA-55D6DBAA7B11}" dt="2023-11-13T05:12:56.776" v="3081" actId="478"/>
          <ac:spMkLst>
            <pc:docMk/>
            <pc:sldMk cId="2997694625" sldId="641"/>
            <ac:spMk id="83" creationId="{E69D2F4D-E174-6CE4-C159-2CC695BC965D}"/>
          </ac:spMkLst>
        </pc:spChg>
        <pc:spChg chg="add mo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84" creationId="{3542FE65-F3DA-1FE9-7233-BBAC63A17A5C}"/>
          </ac:spMkLst>
        </pc:spChg>
        <pc:spChg chg="add mo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85" creationId="{289500D4-D836-53A0-2B18-EED9F010C19E}"/>
          </ac:spMkLst>
        </pc:spChg>
        <pc:spChg chg="add mo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86" creationId="{FDD85F94-83A5-2DBD-C3FF-C76E6791A6EB}"/>
          </ac:spMkLst>
        </pc:spChg>
        <pc:spChg chg="add mod">
          <ac:chgData name="miraj sinya" userId="9f99502c73333c07" providerId="LiveId" clId="{1B2898EF-2D25-40F5-B0FA-55D6DBAA7B11}" dt="2023-11-13T05:23:40.276" v="3298" actId="164"/>
          <ac:spMkLst>
            <pc:docMk/>
            <pc:sldMk cId="2997694625" sldId="641"/>
            <ac:spMk id="87" creationId="{A0D88AEA-EFAC-7709-C468-EA5A72F64D61}"/>
          </ac:spMkLst>
        </pc:spChg>
        <pc:spChg chg="add mod ord">
          <ac:chgData name="miraj sinya" userId="9f99502c73333c07" providerId="LiveId" clId="{1B2898EF-2D25-40F5-B0FA-55D6DBAA7B11}" dt="2023-11-13T05:10:59.558" v="3054" actId="164"/>
          <ac:spMkLst>
            <pc:docMk/>
            <pc:sldMk cId="2997694625" sldId="641"/>
            <ac:spMk id="88" creationId="{AB578EDD-816F-35BB-FE77-B370CEF9990D}"/>
          </ac:spMkLst>
        </pc:spChg>
        <pc:spChg chg="mod">
          <ac:chgData name="miraj sinya" userId="9f99502c73333c07" providerId="LiveId" clId="{1B2898EF-2D25-40F5-B0FA-55D6DBAA7B11}" dt="2023-11-13T05:12:03.120" v="3065"/>
          <ac:spMkLst>
            <pc:docMk/>
            <pc:sldMk cId="2997694625" sldId="641"/>
            <ac:spMk id="91" creationId="{BBB1BA90-A7E0-EE38-B7B5-489B70C5AC35}"/>
          </ac:spMkLst>
        </pc:spChg>
        <pc:spChg chg="mod">
          <ac:chgData name="miraj sinya" userId="9f99502c73333c07" providerId="LiveId" clId="{1B2898EF-2D25-40F5-B0FA-55D6DBAA7B11}" dt="2023-11-13T05:12:52.239" v="3080" actId="20577"/>
          <ac:spMkLst>
            <pc:docMk/>
            <pc:sldMk cId="2997694625" sldId="641"/>
            <ac:spMk id="94" creationId="{E9354C47-6FC0-73AD-FE2F-068495A7017B}"/>
          </ac:spMkLst>
        </pc:spChg>
        <pc:spChg chg="mod">
          <ac:chgData name="miraj sinya" userId="9f99502c73333c07" providerId="LiveId" clId="{1B2898EF-2D25-40F5-B0FA-55D6DBAA7B11}" dt="2023-11-13T05:12:03.120" v="3065"/>
          <ac:spMkLst>
            <pc:docMk/>
            <pc:sldMk cId="2997694625" sldId="641"/>
            <ac:spMk id="97" creationId="{ADD2F03A-248E-4589-650F-6877D8519786}"/>
          </ac:spMkLst>
        </pc:spChg>
        <pc:spChg chg="mod">
          <ac:chgData name="miraj sinya" userId="9f99502c73333c07" providerId="LiveId" clId="{1B2898EF-2D25-40F5-B0FA-55D6DBAA7B11}" dt="2023-11-13T05:33:04.257" v="3641"/>
          <ac:spMkLst>
            <pc:docMk/>
            <pc:sldMk cId="2997694625" sldId="641"/>
            <ac:spMk id="100" creationId="{75A11948-DF9E-5E7A-4C4A-82473A6F942F}"/>
          </ac:spMkLst>
        </pc:spChg>
        <pc:spChg chg="add mod">
          <ac:chgData name="miraj sinya" userId="9f99502c73333c07" providerId="LiveId" clId="{1B2898EF-2D25-40F5-B0FA-55D6DBAA7B11}" dt="2023-11-13T05:33:04.257" v="3641"/>
          <ac:spMkLst>
            <pc:docMk/>
            <pc:sldMk cId="2997694625" sldId="641"/>
            <ac:spMk id="102" creationId="{74EAB6AF-BE04-0ACA-93E5-1EF650900B86}"/>
          </ac:spMkLst>
        </pc:spChg>
        <pc:spChg chg="add mod">
          <ac:chgData name="miraj sinya" userId="9f99502c73333c07" providerId="LiveId" clId="{1B2898EF-2D25-40F5-B0FA-55D6DBAA7B11}" dt="2023-11-13T05:33:36.173" v="3644" actId="400"/>
          <ac:spMkLst>
            <pc:docMk/>
            <pc:sldMk cId="2997694625" sldId="641"/>
            <ac:spMk id="103" creationId="{31E6B5D2-5279-5E1A-7C26-E0A4AB64235F}"/>
          </ac:spMkLst>
        </pc:spChg>
        <pc:spChg chg="add mod">
          <ac:chgData name="miraj sinya" userId="9f99502c73333c07" providerId="LiveId" clId="{1B2898EF-2D25-40F5-B0FA-55D6DBAA7B11}" dt="2023-11-13T05:33:04.257" v="3641"/>
          <ac:spMkLst>
            <pc:docMk/>
            <pc:sldMk cId="2997694625" sldId="641"/>
            <ac:spMk id="105" creationId="{4620399C-DC63-8DE8-4176-0764EC45F60A}"/>
          </ac:spMkLst>
        </pc:spChg>
        <pc:spChg chg="add mod">
          <ac:chgData name="miraj sinya" userId="9f99502c73333c07" providerId="LiveId" clId="{1B2898EF-2D25-40F5-B0FA-55D6DBAA7B11}" dt="2023-11-13T05:33:48.341" v="3645" actId="400"/>
          <ac:spMkLst>
            <pc:docMk/>
            <pc:sldMk cId="2997694625" sldId="641"/>
            <ac:spMk id="106" creationId="{6C766CFB-2D58-FD45-EB63-ED990068374E}"/>
          </ac:spMkLst>
        </pc:spChg>
        <pc:spChg chg="mod">
          <ac:chgData name="miraj sinya" userId="9f99502c73333c07" providerId="LiveId" clId="{1B2898EF-2D25-40F5-B0FA-55D6DBAA7B11}" dt="2023-11-13T05:33:25.816" v="3643"/>
          <ac:spMkLst>
            <pc:docMk/>
            <pc:sldMk cId="2997694625" sldId="641"/>
            <ac:spMk id="108" creationId="{D98E4217-6882-C917-44E2-82DDDD4B87F4}"/>
          </ac:spMkLst>
        </pc:spChg>
        <pc:grpChg chg="add del mod">
          <ac:chgData name="miraj sinya" userId="9f99502c73333c07" providerId="LiveId" clId="{1B2898EF-2D25-40F5-B0FA-55D6DBAA7B11}" dt="2023-11-13T04:43:14.570" v="2678" actId="478"/>
          <ac:grpSpMkLst>
            <pc:docMk/>
            <pc:sldMk cId="2997694625" sldId="641"/>
            <ac:grpSpMk id="5" creationId="{AF8A9FAE-B9D9-E0A5-46BE-E866F8325D10}"/>
          </ac:grpSpMkLst>
        </pc:grpChg>
        <pc:grpChg chg="add del mod">
          <ac:chgData name="miraj sinya" userId="9f99502c73333c07" providerId="LiveId" clId="{1B2898EF-2D25-40F5-B0FA-55D6DBAA7B11}" dt="2023-11-13T04:43:27.978" v="2683" actId="478"/>
          <ac:grpSpMkLst>
            <pc:docMk/>
            <pc:sldMk cId="2997694625" sldId="641"/>
            <ac:grpSpMk id="6" creationId="{333E517D-4DEE-4757-5F5C-8A32605ED288}"/>
          </ac:grpSpMkLst>
        </pc:grpChg>
        <pc:grpChg chg="add del mod">
          <ac:chgData name="miraj sinya" userId="9f99502c73333c07" providerId="LiveId" clId="{1B2898EF-2D25-40F5-B0FA-55D6DBAA7B11}" dt="2023-11-13T04:52:53.386" v="2808" actId="165"/>
          <ac:grpSpMkLst>
            <pc:docMk/>
            <pc:sldMk cId="2997694625" sldId="641"/>
            <ac:grpSpMk id="10" creationId="{707E981A-15BF-77AB-A7F3-D2D5AF7006A3}"/>
          </ac:grpSpMkLst>
        </pc:grpChg>
        <pc:grpChg chg="del mod topLvl">
          <ac:chgData name="miraj sinya" userId="9f99502c73333c07" providerId="LiveId" clId="{1B2898EF-2D25-40F5-B0FA-55D6DBAA7B11}" dt="2023-11-13T04:52:54.152" v="2809" actId="165"/>
          <ac:grpSpMkLst>
            <pc:docMk/>
            <pc:sldMk cId="2997694625" sldId="641"/>
            <ac:grpSpMk id="11" creationId="{6CEE3B7F-D86A-7235-87FE-0230AA78F63A}"/>
          </ac:grpSpMkLst>
        </pc:grpChg>
        <pc:grpChg chg="add del mod">
          <ac:chgData name="miraj sinya" userId="9f99502c73333c07" providerId="LiveId" clId="{1B2898EF-2D25-40F5-B0FA-55D6DBAA7B11}" dt="2023-11-13T05:00:53.025" v="2885" actId="165"/>
          <ac:grpSpMkLst>
            <pc:docMk/>
            <pc:sldMk cId="2997694625" sldId="641"/>
            <ac:grpSpMk id="15" creationId="{69A0C5DB-F938-5963-6D4A-69B35755BCBD}"/>
          </ac:grpSpMkLst>
        </pc:grpChg>
        <pc:grpChg chg="add mod">
          <ac:chgData name="miraj sinya" userId="9f99502c73333c07" providerId="LiveId" clId="{1B2898EF-2D25-40F5-B0FA-55D6DBAA7B11}" dt="2023-11-13T05:23:40.276" v="3298" actId="164"/>
          <ac:grpSpMkLst>
            <pc:docMk/>
            <pc:sldMk cId="2997694625" sldId="641"/>
            <ac:grpSpMk id="16" creationId="{7A85338A-BC6A-8865-3ACB-A00D60BA4342}"/>
          </ac:grpSpMkLst>
        </pc:grpChg>
        <pc:grpChg chg="add mod">
          <ac:chgData name="miraj sinya" userId="9f99502c73333c07" providerId="LiveId" clId="{1B2898EF-2D25-40F5-B0FA-55D6DBAA7B11}" dt="2023-11-13T05:23:40.276" v="3298" actId="164"/>
          <ac:grpSpMkLst>
            <pc:docMk/>
            <pc:sldMk cId="2997694625" sldId="641"/>
            <ac:grpSpMk id="21" creationId="{9549AFF8-EC6F-3339-9655-AD89A946630B}"/>
          </ac:grpSpMkLst>
        </pc:grpChg>
        <pc:grpChg chg="del">
          <ac:chgData name="miraj sinya" userId="9f99502c73333c07" providerId="LiveId" clId="{1B2898EF-2D25-40F5-B0FA-55D6DBAA7B11}" dt="2023-11-13T03:59:10.816" v="1702" actId="478"/>
          <ac:grpSpMkLst>
            <pc:docMk/>
            <pc:sldMk cId="2997694625" sldId="641"/>
            <ac:grpSpMk id="29" creationId="{BFBEDF10-C7B6-3FC0-1958-47A32EB19787}"/>
          </ac:grpSpMkLst>
        </pc:grpChg>
        <pc:grpChg chg="del">
          <ac:chgData name="miraj sinya" userId="9f99502c73333c07" providerId="LiveId" clId="{1B2898EF-2D25-40F5-B0FA-55D6DBAA7B11}" dt="2023-11-13T03:59:10.816" v="1702" actId="478"/>
          <ac:grpSpMkLst>
            <pc:docMk/>
            <pc:sldMk cId="2997694625" sldId="641"/>
            <ac:grpSpMk id="44" creationId="{AF25E9F1-1D19-50DC-9EDF-DA0BF1F9A59C}"/>
          </ac:grpSpMkLst>
        </pc:grpChg>
        <pc:grpChg chg="add del mod">
          <ac:chgData name="miraj sinya" userId="9f99502c73333c07" providerId="LiveId" clId="{1B2898EF-2D25-40F5-B0FA-55D6DBAA7B11}" dt="2023-11-13T05:10:38.509" v="3049" actId="165"/>
          <ac:grpSpMkLst>
            <pc:docMk/>
            <pc:sldMk cId="2997694625" sldId="641"/>
            <ac:grpSpMk id="47" creationId="{F0A659BC-47B2-1F04-75D5-A26E18442D1E}"/>
          </ac:grpSpMkLst>
        </pc:grpChg>
        <pc:grpChg chg="del mod">
          <ac:chgData name="miraj sinya" userId="9f99502c73333c07" providerId="LiveId" clId="{1B2898EF-2D25-40F5-B0FA-55D6DBAA7B11}" dt="2023-11-13T05:07:12.243" v="2955" actId="165"/>
          <ac:grpSpMkLst>
            <pc:docMk/>
            <pc:sldMk cId="2997694625" sldId="641"/>
            <ac:grpSpMk id="49" creationId="{70BEA887-F75E-761E-593A-C001E76A4D64}"/>
          </ac:grpSpMkLst>
        </pc:grpChg>
        <pc:grpChg chg="add mod">
          <ac:chgData name="miraj sinya" userId="9f99502c73333c07" providerId="LiveId" clId="{1B2898EF-2D25-40F5-B0FA-55D6DBAA7B11}" dt="2023-11-13T05:23:40.276" v="3298" actId="164"/>
          <ac:grpSpMkLst>
            <pc:docMk/>
            <pc:sldMk cId="2997694625" sldId="641"/>
            <ac:grpSpMk id="59" creationId="{7F1FFF29-9510-B4A6-AAE0-FF1F1FACC38A}"/>
          </ac:grpSpMkLst>
        </pc:grpChg>
        <pc:grpChg chg="del">
          <ac:chgData name="miraj sinya" userId="9f99502c73333c07" providerId="LiveId" clId="{1B2898EF-2D25-40F5-B0FA-55D6DBAA7B11}" dt="2023-11-13T05:33:22.090" v="3642" actId="478"/>
          <ac:grpSpMkLst>
            <pc:docMk/>
            <pc:sldMk cId="2997694625" sldId="641"/>
            <ac:grpSpMk id="64" creationId="{94A6FC51-2A6A-C64C-F560-E7EF57104345}"/>
          </ac:grpSpMkLst>
        </pc:grpChg>
        <pc:grpChg chg="del mod">
          <ac:chgData name="miraj sinya" userId="9f99502c73333c07" providerId="LiveId" clId="{1B2898EF-2D25-40F5-B0FA-55D6DBAA7B11}" dt="2023-11-13T05:33:03.499" v="3640" actId="478"/>
          <ac:grpSpMkLst>
            <pc:docMk/>
            <pc:sldMk cId="2997694625" sldId="641"/>
            <ac:grpSpMk id="67" creationId="{4E32D611-33D6-3F43-CD96-33E3B70382CE}"/>
          </ac:grpSpMkLst>
        </pc:grpChg>
        <pc:grpChg chg="add mod">
          <ac:chgData name="miraj sinya" userId="9f99502c73333c07" providerId="LiveId" clId="{1B2898EF-2D25-40F5-B0FA-55D6DBAA7B11}" dt="2023-11-13T05:23:40.276" v="3298" actId="164"/>
          <ac:grpSpMkLst>
            <pc:docMk/>
            <pc:sldMk cId="2997694625" sldId="641"/>
            <ac:grpSpMk id="89" creationId="{4C71C17B-61F4-D4A2-E6B3-999A8580F5A7}"/>
          </ac:grpSpMkLst>
        </pc:grpChg>
        <pc:grpChg chg="add mod">
          <ac:chgData name="miraj sinya" userId="9f99502c73333c07" providerId="LiveId" clId="{1B2898EF-2D25-40F5-B0FA-55D6DBAA7B11}" dt="2023-11-13T05:23:40.276" v="3298" actId="164"/>
          <ac:grpSpMkLst>
            <pc:docMk/>
            <pc:sldMk cId="2997694625" sldId="641"/>
            <ac:grpSpMk id="90" creationId="{BD486A96-D003-5D54-FCF3-3E0CCB22CB3B}"/>
          </ac:grpSpMkLst>
        </pc:grpChg>
        <pc:grpChg chg="mod">
          <ac:chgData name="miraj sinya" userId="9f99502c73333c07" providerId="LiveId" clId="{1B2898EF-2D25-40F5-B0FA-55D6DBAA7B11}" dt="2023-11-13T05:12:03.120" v="3065"/>
          <ac:grpSpMkLst>
            <pc:docMk/>
            <pc:sldMk cId="2997694625" sldId="641"/>
            <ac:grpSpMk id="92" creationId="{95DEC2E5-D931-7774-8E61-A893FB413B95}"/>
          </ac:grpSpMkLst>
        </pc:grpChg>
        <pc:grpChg chg="mod">
          <ac:chgData name="miraj sinya" userId="9f99502c73333c07" providerId="LiveId" clId="{1B2898EF-2D25-40F5-B0FA-55D6DBAA7B11}" dt="2023-11-13T05:12:03.120" v="3065"/>
          <ac:grpSpMkLst>
            <pc:docMk/>
            <pc:sldMk cId="2997694625" sldId="641"/>
            <ac:grpSpMk id="93" creationId="{A0CFD9F6-E358-BA79-E303-29141873A996}"/>
          </ac:grpSpMkLst>
        </pc:grpChg>
        <pc:grpChg chg="add mod">
          <ac:chgData name="miraj sinya" userId="9f99502c73333c07" providerId="LiveId" clId="{1B2898EF-2D25-40F5-B0FA-55D6DBAA7B11}" dt="2023-11-13T05:23:40.276" v="3298" actId="164"/>
          <ac:grpSpMkLst>
            <pc:docMk/>
            <pc:sldMk cId="2997694625" sldId="641"/>
            <ac:grpSpMk id="98" creationId="{CC7583B3-2586-E76A-6CA8-5EE00955C31F}"/>
          </ac:grpSpMkLst>
        </pc:grpChg>
        <pc:grpChg chg="add mod">
          <ac:chgData name="miraj sinya" userId="9f99502c73333c07" providerId="LiveId" clId="{1B2898EF-2D25-40F5-B0FA-55D6DBAA7B11}" dt="2023-11-13T05:33:04.257" v="3641"/>
          <ac:grpSpMkLst>
            <pc:docMk/>
            <pc:sldMk cId="2997694625" sldId="641"/>
            <ac:grpSpMk id="99" creationId="{E9967969-1481-D538-75F0-CF81427076B8}"/>
          </ac:grpSpMkLst>
        </pc:grpChg>
        <pc:grpChg chg="add mod">
          <ac:chgData name="miraj sinya" userId="9f99502c73333c07" providerId="LiveId" clId="{1B2898EF-2D25-40F5-B0FA-55D6DBAA7B11}" dt="2023-11-13T05:33:25.816" v="3643"/>
          <ac:grpSpMkLst>
            <pc:docMk/>
            <pc:sldMk cId="2997694625" sldId="641"/>
            <ac:grpSpMk id="107" creationId="{C98C65A8-E9E5-2EF4-704C-C6543E3E511D}"/>
          </ac:grpSpMkLst>
        </pc:grpChg>
        <pc:picChg chg="del">
          <ac:chgData name="miraj sinya" userId="9f99502c73333c07" providerId="LiveId" clId="{1B2898EF-2D25-40F5-B0FA-55D6DBAA7B11}" dt="2023-11-13T03:59:10.816" v="1702" actId="478"/>
          <ac:picMkLst>
            <pc:docMk/>
            <pc:sldMk cId="2997694625" sldId="641"/>
            <ac:picMk id="33" creationId="{AA39EC2C-3B88-BA45-961A-272A6EAD7753}"/>
          </ac:picMkLst>
        </pc:picChg>
        <pc:picChg chg="del">
          <ac:chgData name="miraj sinya" userId="9f99502c73333c07" providerId="LiveId" clId="{1B2898EF-2D25-40F5-B0FA-55D6DBAA7B11}" dt="2023-11-13T03:59:10.816" v="1702" actId="478"/>
          <ac:picMkLst>
            <pc:docMk/>
            <pc:sldMk cId="2997694625" sldId="641"/>
            <ac:picMk id="39" creationId="{939257AD-05F7-F28B-1869-205BF3ECFA15}"/>
          </ac:picMkLst>
        </pc:picChg>
        <pc:cxnChg chg="del mod">
          <ac:chgData name="miraj sinya" userId="9f99502c73333c07" providerId="LiveId" clId="{1B2898EF-2D25-40F5-B0FA-55D6DBAA7B11}" dt="2023-11-13T05:12:56.776" v="3081" actId="478"/>
          <ac:cxnSpMkLst>
            <pc:docMk/>
            <pc:sldMk cId="2997694625" sldId="641"/>
            <ac:cxnSpMk id="9" creationId="{0BCFCE62-4CD6-B52E-1F5F-1BCD157AAE9D}"/>
          </ac:cxnSpMkLst>
        </pc:cxnChg>
        <pc:cxnChg chg="add del mod">
          <ac:chgData name="miraj sinya" userId="9f99502c73333c07" providerId="LiveId" clId="{1B2898EF-2D25-40F5-B0FA-55D6DBAA7B11}" dt="2023-11-13T05:33:03.499" v="3640" actId="478"/>
          <ac:cxnSpMkLst>
            <pc:docMk/>
            <pc:sldMk cId="2997694625" sldId="641"/>
            <ac:cxnSpMk id="24" creationId="{BD8B0D50-0170-D78B-1A1A-E7873E5C839F}"/>
          </ac:cxnSpMkLst>
        </pc:cxnChg>
        <pc:cxnChg chg="add mod">
          <ac:chgData name="miraj sinya" userId="9f99502c73333c07" providerId="LiveId" clId="{1B2898EF-2D25-40F5-B0FA-55D6DBAA7B11}" dt="2023-11-13T05:23:40.276" v="3298" actId="164"/>
          <ac:cxnSpMkLst>
            <pc:docMk/>
            <pc:sldMk cId="2997694625" sldId="641"/>
            <ac:cxnSpMk id="30" creationId="{D2F292FA-DBB0-7D71-CD12-522D228FCF5F}"/>
          </ac:cxnSpMkLst>
        </pc:cxnChg>
        <pc:cxnChg chg="add mod">
          <ac:chgData name="miraj sinya" userId="9f99502c73333c07" providerId="LiveId" clId="{1B2898EF-2D25-40F5-B0FA-55D6DBAA7B11}" dt="2023-11-13T05:23:40.276" v="3298" actId="164"/>
          <ac:cxnSpMkLst>
            <pc:docMk/>
            <pc:sldMk cId="2997694625" sldId="641"/>
            <ac:cxnSpMk id="32" creationId="{4A1A2FEA-3767-E982-CBC7-B79186FE185C}"/>
          </ac:cxnSpMkLst>
        </pc:cxnChg>
        <pc:cxnChg chg="del mod">
          <ac:chgData name="miraj sinya" userId="9f99502c73333c07" providerId="LiveId" clId="{1B2898EF-2D25-40F5-B0FA-55D6DBAA7B11}" dt="2023-11-13T03:59:10.816" v="1702" actId="478"/>
          <ac:cxnSpMkLst>
            <pc:docMk/>
            <pc:sldMk cId="2997694625" sldId="641"/>
            <ac:cxnSpMk id="34" creationId="{086A4AA3-B307-6232-F5C3-B4CE6AAC500B}"/>
          </ac:cxnSpMkLst>
        </pc:cxnChg>
        <pc:cxnChg chg="add mod">
          <ac:chgData name="miraj sinya" userId="9f99502c73333c07" providerId="LiveId" clId="{1B2898EF-2D25-40F5-B0FA-55D6DBAA7B11}" dt="2023-11-13T05:23:40.276" v="3298" actId="164"/>
          <ac:cxnSpMkLst>
            <pc:docMk/>
            <pc:sldMk cId="2997694625" sldId="641"/>
            <ac:cxnSpMk id="35" creationId="{2CD81BEB-94FE-3DD6-8D92-A857459F936C}"/>
          </ac:cxnSpMkLst>
        </pc:cxnChg>
        <pc:cxnChg chg="add mod">
          <ac:chgData name="miraj sinya" userId="9f99502c73333c07" providerId="LiveId" clId="{1B2898EF-2D25-40F5-B0FA-55D6DBAA7B11}" dt="2023-11-13T05:23:40.276" v="3298" actId="164"/>
          <ac:cxnSpMkLst>
            <pc:docMk/>
            <pc:sldMk cId="2997694625" sldId="641"/>
            <ac:cxnSpMk id="37" creationId="{C4300AE6-141B-795F-01F7-3C717197825C}"/>
          </ac:cxnSpMkLst>
        </pc:cxnChg>
        <pc:cxnChg chg="add mod">
          <ac:chgData name="miraj sinya" userId="9f99502c73333c07" providerId="LiveId" clId="{1B2898EF-2D25-40F5-B0FA-55D6DBAA7B11}" dt="2023-11-13T05:23:40.276" v="3298" actId="164"/>
          <ac:cxnSpMkLst>
            <pc:docMk/>
            <pc:sldMk cId="2997694625" sldId="641"/>
            <ac:cxnSpMk id="60" creationId="{BEAD008C-1622-290C-8367-0605B7119C04}"/>
          </ac:cxnSpMkLst>
        </pc:cxnChg>
        <pc:cxnChg chg="del mod">
          <ac:chgData name="miraj sinya" userId="9f99502c73333c07" providerId="LiveId" clId="{1B2898EF-2D25-40F5-B0FA-55D6DBAA7B11}" dt="2023-11-13T05:13:00.712" v="3082" actId="478"/>
          <ac:cxnSpMkLst>
            <pc:docMk/>
            <pc:sldMk cId="2997694625" sldId="641"/>
            <ac:cxnSpMk id="78" creationId="{74BCFD67-E481-C943-7C25-A183D33C1D2A}"/>
          </ac:cxnSpMkLst>
        </pc:cxnChg>
        <pc:cxnChg chg="del mod">
          <ac:chgData name="miraj sinya" userId="9f99502c73333c07" providerId="LiveId" clId="{1B2898EF-2D25-40F5-B0FA-55D6DBAA7B11}" dt="2023-11-13T05:12:56.776" v="3081" actId="478"/>
          <ac:cxnSpMkLst>
            <pc:docMk/>
            <pc:sldMk cId="2997694625" sldId="641"/>
            <ac:cxnSpMk id="79" creationId="{07CA3999-76A8-293F-4A35-705987BB9150}"/>
          </ac:cxnSpMkLst>
        </pc:cxnChg>
        <pc:cxnChg chg="del mod">
          <ac:chgData name="miraj sinya" userId="9f99502c73333c07" providerId="LiveId" clId="{1B2898EF-2D25-40F5-B0FA-55D6DBAA7B11}" dt="2023-11-13T05:13:00.712" v="3082" actId="478"/>
          <ac:cxnSpMkLst>
            <pc:docMk/>
            <pc:sldMk cId="2997694625" sldId="641"/>
            <ac:cxnSpMk id="80" creationId="{09E932A3-48A7-9C34-3547-8C7DB7CFBFAE}"/>
          </ac:cxnSpMkLst>
        </pc:cxnChg>
        <pc:cxnChg chg="mod">
          <ac:chgData name="miraj sinya" userId="9f99502c73333c07" providerId="LiveId" clId="{1B2898EF-2D25-40F5-B0FA-55D6DBAA7B11}" dt="2023-11-13T05:12:03.120" v="3065"/>
          <ac:cxnSpMkLst>
            <pc:docMk/>
            <pc:sldMk cId="2997694625" sldId="641"/>
            <ac:cxnSpMk id="95" creationId="{60EBD623-275F-1F67-CA09-068362CD367B}"/>
          </ac:cxnSpMkLst>
        </pc:cxnChg>
        <pc:cxnChg chg="mod">
          <ac:chgData name="miraj sinya" userId="9f99502c73333c07" providerId="LiveId" clId="{1B2898EF-2D25-40F5-B0FA-55D6DBAA7B11}" dt="2023-11-13T05:12:03.120" v="3065"/>
          <ac:cxnSpMkLst>
            <pc:docMk/>
            <pc:sldMk cId="2997694625" sldId="641"/>
            <ac:cxnSpMk id="96" creationId="{A03BFEC8-8410-5FA8-FB0E-5B595A5CB686}"/>
          </ac:cxnSpMkLst>
        </pc:cxnChg>
        <pc:cxnChg chg="mod">
          <ac:chgData name="miraj sinya" userId="9f99502c73333c07" providerId="LiveId" clId="{1B2898EF-2D25-40F5-B0FA-55D6DBAA7B11}" dt="2023-11-13T05:33:04.257" v="3641"/>
          <ac:cxnSpMkLst>
            <pc:docMk/>
            <pc:sldMk cId="2997694625" sldId="641"/>
            <ac:cxnSpMk id="101" creationId="{881CDB23-163C-FDFC-5534-97669D9029AA}"/>
          </ac:cxnSpMkLst>
        </pc:cxnChg>
        <pc:cxnChg chg="add mod">
          <ac:chgData name="miraj sinya" userId="9f99502c73333c07" providerId="LiveId" clId="{1B2898EF-2D25-40F5-B0FA-55D6DBAA7B11}" dt="2023-11-13T05:33:04.257" v="3641"/>
          <ac:cxnSpMkLst>
            <pc:docMk/>
            <pc:sldMk cId="2997694625" sldId="641"/>
            <ac:cxnSpMk id="104" creationId="{478FBB3D-B488-FF67-3954-DEAA9159E144}"/>
          </ac:cxnSpMkLst>
        </pc:cxnChg>
        <pc:cxnChg chg="mod">
          <ac:chgData name="miraj sinya" userId="9f99502c73333c07" providerId="LiveId" clId="{1B2898EF-2D25-40F5-B0FA-55D6DBAA7B11}" dt="2023-11-13T05:33:25.816" v="3643"/>
          <ac:cxnSpMkLst>
            <pc:docMk/>
            <pc:sldMk cId="2997694625" sldId="641"/>
            <ac:cxnSpMk id="109" creationId="{6CD97BCE-8A68-31B0-4115-6A33DA4C4D79}"/>
          </ac:cxnSpMkLst>
        </pc:cxnChg>
      </pc:sldChg>
      <pc:sldChg chg="delSp modSp add mod">
        <pc:chgData name="miraj sinya" userId="9f99502c73333c07" providerId="LiveId" clId="{1B2898EF-2D25-40F5-B0FA-55D6DBAA7B11}" dt="2023-11-13T00:47:53.749" v="945" actId="20577"/>
        <pc:sldMkLst>
          <pc:docMk/>
          <pc:sldMk cId="2290778968" sldId="642"/>
        </pc:sldMkLst>
        <pc:spChg chg="mod">
          <ac:chgData name="miraj sinya" userId="9f99502c73333c07" providerId="LiveId" clId="{1B2898EF-2D25-40F5-B0FA-55D6DBAA7B11}" dt="2023-11-13T00:47:53.749" v="945" actId="20577"/>
          <ac:spMkLst>
            <pc:docMk/>
            <pc:sldMk cId="2290778968" sldId="642"/>
            <ac:spMk id="2" creationId="{2BD9482C-9809-78C2-DBBB-630F5596988E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18" creationId="{4CDD7EDA-8C8C-AD0F-5282-86227D3C00F5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19" creationId="{FB22A53D-A04E-4953-5B43-167D0D623473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21" creationId="{C0803D98-1DF9-CC24-344C-E496171D5A11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22" creationId="{F9FC01F3-5DBE-BF2F-3B9D-612BD37BD42A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23" creationId="{2255016D-FA10-A3B5-4756-9C19107C4536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24" creationId="{06BF219B-8D1E-9BAC-8D5B-8257AADA63B7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25" creationId="{FE19F466-67D7-344B-4BC6-2E135D578136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26" creationId="{FC04F0CD-AF27-24D8-3E15-A23A7BA88C80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27" creationId="{4B7D1D81-B082-F85E-B8DF-A87AEC53DE50}"/>
          </ac:spMkLst>
        </pc:spChg>
        <pc:spChg chg="del">
          <ac:chgData name="miraj sinya" userId="9f99502c73333c07" providerId="LiveId" clId="{1B2898EF-2D25-40F5-B0FA-55D6DBAA7B11}" dt="2023-11-13T00:47:30.844" v="920" actId="478"/>
          <ac:spMkLst>
            <pc:docMk/>
            <pc:sldMk cId="2290778968" sldId="642"/>
            <ac:spMk id="28" creationId="{2C894528-B932-5811-C7B4-B1C3A8FEC555}"/>
          </ac:spMkLst>
        </pc:spChg>
        <pc:grpChg chg="del">
          <ac:chgData name="miraj sinya" userId="9f99502c73333c07" providerId="LiveId" clId="{1B2898EF-2D25-40F5-B0FA-55D6DBAA7B11}" dt="2023-11-13T00:47:30.844" v="920" actId="478"/>
          <ac:grpSpMkLst>
            <pc:docMk/>
            <pc:sldMk cId="2290778968" sldId="642"/>
            <ac:grpSpMk id="29" creationId="{BFBEDF10-C7B6-3FC0-1958-47A32EB19787}"/>
          </ac:grpSpMkLst>
        </pc:grpChg>
        <pc:grpChg chg="del">
          <ac:chgData name="miraj sinya" userId="9f99502c73333c07" providerId="LiveId" clId="{1B2898EF-2D25-40F5-B0FA-55D6DBAA7B11}" dt="2023-11-13T00:47:30.844" v="920" actId="478"/>
          <ac:grpSpMkLst>
            <pc:docMk/>
            <pc:sldMk cId="2290778968" sldId="642"/>
            <ac:grpSpMk id="30" creationId="{1EFF5BE0-9F61-8B4E-45CE-3EBACE68EF93}"/>
          </ac:grpSpMkLst>
        </pc:grpChg>
        <pc:grpChg chg="del">
          <ac:chgData name="miraj sinya" userId="9f99502c73333c07" providerId="LiveId" clId="{1B2898EF-2D25-40F5-B0FA-55D6DBAA7B11}" dt="2023-11-13T00:47:30.844" v="920" actId="478"/>
          <ac:grpSpMkLst>
            <pc:docMk/>
            <pc:sldMk cId="2290778968" sldId="642"/>
            <ac:grpSpMk id="64" creationId="{94A6FC51-2A6A-C64C-F560-E7EF57104345}"/>
          </ac:grpSpMkLst>
        </pc:grpChg>
        <pc:grpChg chg="del">
          <ac:chgData name="miraj sinya" userId="9f99502c73333c07" providerId="LiveId" clId="{1B2898EF-2D25-40F5-B0FA-55D6DBAA7B11}" dt="2023-11-13T00:47:30.844" v="920" actId="478"/>
          <ac:grpSpMkLst>
            <pc:docMk/>
            <pc:sldMk cId="2290778968" sldId="642"/>
            <ac:grpSpMk id="67" creationId="{4E32D611-33D6-3F43-CD96-33E3B70382CE}"/>
          </ac:grpSpMkLst>
        </pc:grpChg>
        <pc:picChg chg="del">
          <ac:chgData name="miraj sinya" userId="9f99502c73333c07" providerId="LiveId" clId="{1B2898EF-2D25-40F5-B0FA-55D6DBAA7B11}" dt="2023-11-13T00:47:30.844" v="920" actId="478"/>
          <ac:picMkLst>
            <pc:docMk/>
            <pc:sldMk cId="2290778968" sldId="642"/>
            <ac:picMk id="10" creationId="{1A166E08-11EB-34DC-E7A9-6E5BAF668496}"/>
          </ac:picMkLst>
        </pc:picChg>
        <pc:picChg chg="del">
          <ac:chgData name="miraj sinya" userId="9f99502c73333c07" providerId="LiveId" clId="{1B2898EF-2D25-40F5-B0FA-55D6DBAA7B11}" dt="2023-11-13T00:47:30.844" v="920" actId="478"/>
          <ac:picMkLst>
            <pc:docMk/>
            <pc:sldMk cId="2290778968" sldId="642"/>
            <ac:picMk id="12" creationId="{7F7A2465-B6E4-7B2E-3008-E59569D103A8}"/>
          </ac:picMkLst>
        </pc:picChg>
        <pc:cxnChg chg="del">
          <ac:chgData name="miraj sinya" userId="9f99502c73333c07" providerId="LiveId" clId="{1B2898EF-2D25-40F5-B0FA-55D6DBAA7B11}" dt="2023-11-13T00:47:30.844" v="920" actId="478"/>
          <ac:cxnSpMkLst>
            <pc:docMk/>
            <pc:sldMk cId="2290778968" sldId="642"/>
            <ac:cxnSpMk id="9" creationId="{0BCFCE62-4CD6-B52E-1F5F-1BCD157AAE9D}"/>
          </ac:cxnSpMkLst>
        </pc:cxnChg>
        <pc:cxnChg chg="del">
          <ac:chgData name="miraj sinya" userId="9f99502c73333c07" providerId="LiveId" clId="{1B2898EF-2D25-40F5-B0FA-55D6DBAA7B11}" dt="2023-11-13T00:47:30.844" v="920" actId="478"/>
          <ac:cxnSpMkLst>
            <pc:docMk/>
            <pc:sldMk cId="2290778968" sldId="642"/>
            <ac:cxnSpMk id="15" creationId="{3E6A42B9-9A4A-276F-B393-4407984F5329}"/>
          </ac:cxnSpMkLst>
        </pc:cxnChg>
        <pc:cxnChg chg="del mod">
          <ac:chgData name="miraj sinya" userId="9f99502c73333c07" providerId="LiveId" clId="{1B2898EF-2D25-40F5-B0FA-55D6DBAA7B11}" dt="2023-11-13T00:47:30.844" v="920" actId="478"/>
          <ac:cxnSpMkLst>
            <pc:docMk/>
            <pc:sldMk cId="2290778968" sldId="642"/>
            <ac:cxnSpMk id="16" creationId="{6A3191F8-8028-E0C3-54C3-7122487D006E}"/>
          </ac:cxnSpMkLst>
        </pc:cxnChg>
        <pc:cxnChg chg="mod">
          <ac:chgData name="miraj sinya" userId="9f99502c73333c07" providerId="LiveId" clId="{1B2898EF-2D25-40F5-B0FA-55D6DBAA7B11}" dt="2023-11-13T00:47:30.844" v="920" actId="478"/>
          <ac:cxnSpMkLst>
            <pc:docMk/>
            <pc:sldMk cId="2290778968" sldId="642"/>
            <ac:cxnSpMk id="34" creationId="{086A4AA3-B307-6232-F5C3-B4CE6AAC500B}"/>
          </ac:cxnSpMkLst>
        </pc:cxnChg>
      </pc:sldChg>
      <pc:sldChg chg="modSp add mod ord">
        <pc:chgData name="miraj sinya" userId="9f99502c73333c07" providerId="LiveId" clId="{1B2898EF-2D25-40F5-B0FA-55D6DBAA7B11}" dt="2023-11-13T00:48:31.240" v="964" actId="20577"/>
        <pc:sldMkLst>
          <pc:docMk/>
          <pc:sldMk cId="1084749955" sldId="643"/>
        </pc:sldMkLst>
        <pc:spChg chg="mod">
          <ac:chgData name="miraj sinya" userId="9f99502c73333c07" providerId="LiveId" clId="{1B2898EF-2D25-40F5-B0FA-55D6DBAA7B11}" dt="2023-11-13T00:48:31.240" v="964" actId="20577"/>
          <ac:spMkLst>
            <pc:docMk/>
            <pc:sldMk cId="1084749955" sldId="643"/>
            <ac:spMk id="2" creationId="{2BD9482C-9809-78C2-DBBB-630F5596988E}"/>
          </ac:spMkLst>
        </pc:spChg>
      </pc:sldChg>
      <pc:sldChg chg="addSp modSp new del mod">
        <pc:chgData name="miraj sinya" userId="9f99502c73333c07" providerId="LiveId" clId="{1B2898EF-2D25-40F5-B0FA-55D6DBAA7B11}" dt="2023-11-13T04:49:17.180" v="2778" actId="47"/>
        <pc:sldMkLst>
          <pc:docMk/>
          <pc:sldMk cId="863469644" sldId="644"/>
        </pc:sldMkLst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4" creationId="{E5353B2A-897E-1BBD-A216-1E54E2FCFE1E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5" creationId="{7E16E438-9276-27A6-04B1-920B303F11CC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6" creationId="{F1619742-6002-770D-FA43-67CEA0AFEB3C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7" creationId="{2E75FE9A-C735-6046-46D0-A551BAD4AAB9}"/>
          </ac:spMkLst>
        </pc:spChg>
        <pc:spChg chg="mod">
          <ac:chgData name="miraj sinya" userId="9f99502c73333c07" providerId="LiveId" clId="{1B2898EF-2D25-40F5-B0FA-55D6DBAA7B11}" dt="2023-11-13T04:02:33.646" v="1706" actId="207"/>
          <ac:spMkLst>
            <pc:docMk/>
            <pc:sldMk cId="863469644" sldId="644"/>
            <ac:spMk id="8" creationId="{E98DC0C7-44AD-44A2-167B-D3EB8237DB4C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11" creationId="{607EBF8B-AA26-20D7-9CDC-BFB35DC298E4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12" creationId="{5FB56133-449D-16AA-9E85-F737D8EBA494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15" creationId="{A6B69A19-79EB-17F8-6EFA-8DDEFC01E43D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20" creationId="{EDBC4A88-F77B-30B6-643F-884665C1BFE5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21" creationId="{B825EA45-4C11-1E2A-BC34-6E49834495BC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22" creationId="{1493AB99-99D1-5E17-422C-AC59ECA3F0CA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23" creationId="{5EB2EC05-4BAA-56DE-9A93-429035F03233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24" creationId="{BF201149-C934-E0F0-0680-B87668C23FAF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25" creationId="{C796A357-3359-965E-BBE5-F8C17D34AC13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26" creationId="{A3AB3BDC-3F47-1563-D8F0-DB56C49CE660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27" creationId="{E7229F97-F1FA-6D88-4ED3-53194C6A67E1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31" creationId="{FDFAD09B-81F7-9BF4-87A2-442DF3175C95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32" creationId="{58C3B325-B89B-3811-232C-DC543A1A752E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33" creationId="{8FA40E53-C434-1E38-2D0C-C19ABA3AD11D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36" creationId="{6079DEAC-B3F3-9CBF-B1B4-4829A096B0F2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39" creationId="{D9643302-7675-C080-83EA-14143A2C6A2C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40" creationId="{6F266A45-1A38-BDA9-6AF1-B3E2B933F1F4}"/>
          </ac:spMkLst>
        </pc:spChg>
        <pc:spChg chg="mod">
          <ac:chgData name="miraj sinya" userId="9f99502c73333c07" providerId="LiveId" clId="{1B2898EF-2D25-40F5-B0FA-55D6DBAA7B11}" dt="2023-11-13T04:03:12.815" v="1712" actId="207"/>
          <ac:spMkLst>
            <pc:docMk/>
            <pc:sldMk cId="863469644" sldId="644"/>
            <ac:spMk id="41" creationId="{2592DA6E-0105-E5C0-12ED-27C830F7832E}"/>
          </ac:spMkLst>
        </pc:spChg>
        <pc:spChg chg="mod">
          <ac:chgData name="miraj sinya" userId="9f99502c73333c07" providerId="LiveId" clId="{1B2898EF-2D25-40F5-B0FA-55D6DBAA7B11}" dt="2023-11-13T04:03:11.530" v="1710" actId="207"/>
          <ac:spMkLst>
            <pc:docMk/>
            <pc:sldMk cId="863469644" sldId="644"/>
            <ac:spMk id="42" creationId="{29E4B241-BF8C-77CC-4A00-11D48DFA62ED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43" creationId="{A3112161-A6FF-C64E-635C-1BA75322D593}"/>
          </ac:spMkLst>
        </pc:spChg>
        <pc:spChg chg="mod">
          <ac:chgData name="miraj sinya" userId="9f99502c73333c07" providerId="LiveId" clId="{1B2898EF-2D25-40F5-B0FA-55D6DBAA7B11}" dt="2023-11-13T04:01:26.921" v="1705"/>
          <ac:spMkLst>
            <pc:docMk/>
            <pc:sldMk cId="863469644" sldId="644"/>
            <ac:spMk id="44" creationId="{A039183C-FBEA-B000-8A5B-B700FC1C3512}"/>
          </ac:spMkLst>
        </pc:spChg>
        <pc:grpChg chg="add mod">
          <ac:chgData name="miraj sinya" userId="9f99502c73333c07" providerId="LiveId" clId="{1B2898EF-2D25-40F5-B0FA-55D6DBAA7B11}" dt="2023-11-13T04:01:26.921" v="1705"/>
          <ac:grpSpMkLst>
            <pc:docMk/>
            <pc:sldMk cId="863469644" sldId="644"/>
            <ac:grpSpMk id="3" creationId="{DE629BCB-3CE3-E4B0-6B93-68DD9AFF2F75}"/>
          </ac:grpSpMkLst>
        </pc:grpChg>
        <pc:grpChg chg="mod">
          <ac:chgData name="miraj sinya" userId="9f99502c73333c07" providerId="LiveId" clId="{1B2898EF-2D25-40F5-B0FA-55D6DBAA7B11}" dt="2023-11-13T04:01:26.921" v="1705"/>
          <ac:grpSpMkLst>
            <pc:docMk/>
            <pc:sldMk cId="863469644" sldId="644"/>
            <ac:grpSpMk id="10" creationId="{A67CB16E-BABF-A619-BE95-DC6203AD0094}"/>
          </ac:grpSpMkLst>
        </pc:grpChg>
        <pc:grpChg chg="mod">
          <ac:chgData name="miraj sinya" userId="9f99502c73333c07" providerId="LiveId" clId="{1B2898EF-2D25-40F5-B0FA-55D6DBAA7B11}" dt="2023-11-13T04:01:26.921" v="1705"/>
          <ac:grpSpMkLst>
            <pc:docMk/>
            <pc:sldMk cId="863469644" sldId="644"/>
            <ac:grpSpMk id="14" creationId="{D4E5615A-77E0-1E3F-7457-09E5B163533F}"/>
          </ac:grpSpMkLst>
        </pc:grpChg>
        <pc:grpChg chg="mod">
          <ac:chgData name="miraj sinya" userId="9f99502c73333c07" providerId="LiveId" clId="{1B2898EF-2D25-40F5-B0FA-55D6DBAA7B11}" dt="2023-11-13T04:01:26.921" v="1705"/>
          <ac:grpSpMkLst>
            <pc:docMk/>
            <pc:sldMk cId="863469644" sldId="644"/>
            <ac:grpSpMk id="28" creationId="{1F671647-ED52-D9C0-4D5D-5AB52381B664}"/>
          </ac:grpSpMkLst>
        </pc:grpChg>
        <pc:grpChg chg="mod">
          <ac:chgData name="miraj sinya" userId="9f99502c73333c07" providerId="LiveId" clId="{1B2898EF-2D25-40F5-B0FA-55D6DBAA7B11}" dt="2023-11-13T04:01:26.921" v="1705"/>
          <ac:grpSpMkLst>
            <pc:docMk/>
            <pc:sldMk cId="863469644" sldId="644"/>
            <ac:grpSpMk id="34" creationId="{2CA2A7DF-288C-447A-B169-E0E9CC16339D}"/>
          </ac:grpSpMkLst>
        </pc:grpChg>
        <pc:grpChg chg="mod">
          <ac:chgData name="miraj sinya" userId="9f99502c73333c07" providerId="LiveId" clId="{1B2898EF-2D25-40F5-B0FA-55D6DBAA7B11}" dt="2023-11-13T04:01:26.921" v="1705"/>
          <ac:grpSpMkLst>
            <pc:docMk/>
            <pc:sldMk cId="863469644" sldId="644"/>
            <ac:grpSpMk id="35" creationId="{018FF838-5D4A-0D1F-1AD3-B3DD5A18B2BB}"/>
          </ac:grpSpMkLst>
        </pc:grp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9" creationId="{82FAAD51-9F04-5917-1852-46BD1356C839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13" creationId="{B6BDB032-661E-1357-6313-EE9DF86FC613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16" creationId="{5E0EAC9D-5794-D96F-510A-7A060DF9F19B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17" creationId="{CE3EA753-C2D9-BCAE-F97C-8C7F9B14005A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18" creationId="{AE2FF04F-AF0C-DE0C-E79B-F7FF0EC92C15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19" creationId="{172F2D10-4024-F1A9-2E94-17CC0BE9472E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29" creationId="{0B817194-E3D2-0EAC-131D-83E2DC32F72F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30" creationId="{AFC5764B-AFBD-DDBE-C43B-C1271DE4767F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37" creationId="{B1811287-476D-A3F0-5CBD-A27ED053C3B3}"/>
          </ac:cxnSpMkLst>
        </pc:cxnChg>
        <pc:cxnChg chg="mod">
          <ac:chgData name="miraj sinya" userId="9f99502c73333c07" providerId="LiveId" clId="{1B2898EF-2D25-40F5-B0FA-55D6DBAA7B11}" dt="2023-11-13T04:01:26.921" v="1705"/>
          <ac:cxnSpMkLst>
            <pc:docMk/>
            <pc:sldMk cId="863469644" sldId="644"/>
            <ac:cxnSpMk id="38" creationId="{1DC6B47B-6B92-D92A-7731-0CF7728BB388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t" anchorCtr="0" compatLnSpc="1">
            <a:prstTxWarp prst="textNoShape">
              <a:avLst/>
            </a:prstTxWarp>
          </a:bodyPr>
          <a:lstStyle>
            <a:lvl1pPr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2591" y="4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t" anchorCtr="0" compatLnSpc="1">
            <a:prstTxWarp prst="textNoShape">
              <a:avLst/>
            </a:prstTxWarp>
          </a:bodyPr>
          <a:lstStyle>
            <a:lvl1pPr algn="r"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394772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b" anchorCtr="0" compatLnSpc="1">
            <a:prstTxWarp prst="textNoShape">
              <a:avLst/>
            </a:prstTxWarp>
          </a:bodyPr>
          <a:lstStyle>
            <a:lvl1pPr defTabSz="917378">
              <a:defRPr sz="1100"/>
            </a:lvl1pPr>
          </a:lstStyle>
          <a:p>
            <a:endParaRPr lang="en-US" altLang="ja-JP"/>
          </a:p>
        </p:txBody>
      </p:sp>
      <p:sp>
        <p:nvSpPr>
          <p:cNvPr id="890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2591" y="9394772"/>
            <a:ext cx="2981493" cy="535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92" tIns="45795" rIns="91592" bIns="45795" numCol="1" anchor="b" anchorCtr="0" compatLnSpc="1">
            <a:prstTxWarp prst="textNoShape">
              <a:avLst/>
            </a:prstTxWarp>
          </a:bodyPr>
          <a:lstStyle>
            <a:lvl1pPr algn="r" defTabSz="917378">
              <a:defRPr sz="1100"/>
            </a:lvl1pPr>
          </a:lstStyle>
          <a:p>
            <a:fld id="{8512D75A-4968-4B85-978D-6B81A9CAAE46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161541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0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>
            <a:lvl1pPr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33" y="0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>
            <a:lvl1pPr algn="r"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84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789" y="4713361"/>
            <a:ext cx="4984107" cy="4468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31508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b" anchorCtr="0" compatLnSpc="1">
            <a:prstTxWarp prst="textNoShape">
              <a:avLst/>
            </a:prstTxWarp>
          </a:bodyPr>
          <a:lstStyle>
            <a:lvl1pPr defTabSz="917378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33" y="9431508"/>
            <a:ext cx="2946247" cy="495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592" tIns="45795" rIns="91592" bIns="45795" numCol="1" anchor="b" anchorCtr="0" compatLnSpc="1">
            <a:prstTxWarp prst="textNoShape">
              <a:avLst/>
            </a:prstTxWarp>
          </a:bodyPr>
          <a:lstStyle>
            <a:lvl1pPr algn="r" defTabSz="917378">
              <a:defRPr sz="1100">
                <a:latin typeface="Times New Roman" pitchFamily="18" charset="0"/>
              </a:defRPr>
            </a:lvl1pPr>
          </a:lstStyle>
          <a:p>
            <a:fld id="{686D6E00-0F62-4B93-946A-D3C2B941BC77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992406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rush4ratio/video-game-sales-with-rating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chemeClr val="tx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Game Sales with Ratings | Kaggle</a:t>
            </a:r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1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07100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D6E00-0F62-4B93-946A-D3C2B941BC77}" type="slidenum">
              <a:rPr lang="en-US" altLang="ja-JP" smtClean="0"/>
              <a:pPr/>
              <a:t>4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04531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gray">
          <a:xfrm>
            <a:off x="1" y="0"/>
            <a:ext cx="1511928" cy="6858000"/>
          </a:xfrm>
          <a:prstGeom prst="rect">
            <a:avLst/>
          </a:prstGeom>
          <a:solidFill>
            <a:srgbClr val="202C5C"/>
          </a:solidFill>
          <a:ln>
            <a:noFill/>
          </a:ln>
          <a:effectLst/>
        </p:spPr>
        <p:txBody>
          <a:bodyPr wrap="square" lIns="0" tIns="0" rIns="0" bIns="0" anchor="ctr">
            <a:noAutofit/>
          </a:bodyPr>
          <a:lstStyle/>
          <a:p>
            <a:endParaRPr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white">
          <a:xfrm>
            <a:off x="457200" y="151200"/>
            <a:ext cx="8991600" cy="3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en-US" altLang="ja-JP"/>
              <a:t>TEX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989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961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3" name="オブジェクト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Line 5"/>
          <p:cNvSpPr>
            <a:spLocks noChangeShapeType="1"/>
          </p:cNvSpPr>
          <p:nvPr userDrawn="1"/>
        </p:nvSpPr>
        <p:spPr bwMode="gray">
          <a:xfrm>
            <a:off x="0" y="620713"/>
            <a:ext cx="9906000" cy="0"/>
          </a:xfrm>
          <a:prstGeom prst="line">
            <a:avLst/>
          </a:prstGeom>
          <a:noFill/>
          <a:ln w="381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202C5C"/>
                </a:solidFill>
              </a:defRPr>
            </a:lvl1pPr>
          </a:lstStyle>
          <a:p>
            <a:r>
              <a:rPr kumimoji="1" lang="ja-JP" altLang="en-US"/>
              <a:t>マスター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75181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角丸四角形 4"/>
          <p:cNvSpPr>
            <a:spLocks noChangeArrowheads="1"/>
          </p:cNvSpPr>
          <p:nvPr userDrawn="1"/>
        </p:nvSpPr>
        <p:spPr bwMode="auto">
          <a:xfrm>
            <a:off x="0" y="6742112"/>
            <a:ext cx="9906000" cy="115888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0" tIns="0" rIns="0" bIns="0" anchor="ctr"/>
          <a:lstStyle>
            <a:lvl1pPr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just">
              <a:lnSpc>
                <a:spcPct val="140000"/>
              </a:lnSpc>
              <a:spcAft>
                <a:spcPts val="600"/>
              </a:spcAft>
              <a:defRPr/>
            </a:pPr>
            <a:endParaRPr lang="ja-JP" altLang="en-US">
              <a:solidFill>
                <a:srgbClr val="4D4D4D"/>
              </a:solidFill>
              <a:latin typeface="メイリオ" panose="020B0604030504040204" pitchFamily="50" charset="-128"/>
            </a:endParaRPr>
          </a:p>
        </p:txBody>
      </p:sp>
      <p:sp>
        <p:nvSpPr>
          <p:cNvPr id="8" name="タイトル 1"/>
          <p:cNvSpPr>
            <a:spLocks noGrp="1"/>
          </p:cNvSpPr>
          <p:nvPr>
            <p:ph type="ctrTitle"/>
          </p:nvPr>
        </p:nvSpPr>
        <p:spPr>
          <a:xfrm>
            <a:off x="812799" y="3178914"/>
            <a:ext cx="8280400" cy="533411"/>
          </a:xfrm>
          <a:prstGeom prst="rect">
            <a:avLst/>
          </a:prstGeom>
        </p:spPr>
        <p:txBody>
          <a:bodyPr tIns="36000" anchor="t">
            <a:spAutoFit/>
          </a:bodyPr>
          <a:lstStyle>
            <a:lvl1pPr algn="l">
              <a:lnSpc>
                <a:spcPct val="110000"/>
              </a:lnSpc>
              <a:defRPr sz="3200" b="1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0"/>
          </p:nvPr>
        </p:nvSpPr>
        <p:spPr>
          <a:xfrm>
            <a:off x="812799" y="2547825"/>
            <a:ext cx="7235826" cy="405683"/>
          </a:xfrm>
        </p:spPr>
        <p:txBody>
          <a:bodyPr lIns="0" tIns="36000" rIns="0" bIns="0">
            <a:spAutoFit/>
          </a:bodyPr>
          <a:lstStyle>
            <a:lvl1pPr>
              <a:defRPr kumimoji="1" lang="ja-JP" altLang="en-US" sz="2400" b="1" kern="1200" noProof="0" smtClean="0">
                <a:solidFill>
                  <a:schemeClr val="tx2"/>
                </a:solidFill>
                <a:latin typeface="+mn-lt"/>
                <a:ea typeface="+mn-ea"/>
                <a:cs typeface="メイリオ" pitchFamily="50" charset="-128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9" name="角丸四角形 4">
            <a:extLst>
              <a:ext uri="{FF2B5EF4-FFF2-40B4-BE49-F238E27FC236}">
                <a16:creationId xmlns:a16="http://schemas.microsoft.com/office/drawing/2014/main" id="{2784892C-4B71-4235-89BD-DBFC7C4CBD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906000" cy="115888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0" tIns="0" rIns="0" bIns="0" anchor="ctr"/>
          <a:lstStyle>
            <a:lvl1pPr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just">
              <a:lnSpc>
                <a:spcPct val="140000"/>
              </a:lnSpc>
              <a:spcAft>
                <a:spcPts val="600"/>
              </a:spcAft>
              <a:defRPr/>
            </a:pPr>
            <a:endParaRPr lang="ja-JP" altLang="en-US">
              <a:solidFill>
                <a:srgbClr val="4D4D4D"/>
              </a:solidFill>
              <a:latin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1338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6178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07303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270" imgH="270" progId="TCLayout.ActiveDocument.1">
                  <p:embed/>
                </p:oleObj>
              </mc:Choice>
              <mc:Fallback>
                <p:oleObj name="think-cell スライド" r:id="rId7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14300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</a:t>
            </a:r>
            <a:r>
              <a:rPr lang="en-US" altLang="ja-JP"/>
              <a:t>2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</a:t>
            </a:r>
            <a:r>
              <a:rPr lang="en-US" altLang="ja-JP"/>
              <a:t>3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</a:t>
            </a:r>
            <a:r>
              <a:rPr lang="en-US" altLang="ja-JP"/>
              <a:t>4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</a:t>
            </a:r>
            <a:r>
              <a:rPr lang="en-US" altLang="ja-JP"/>
              <a:t>5</a:t>
            </a:r>
            <a:r>
              <a:rPr lang="ja-JP" altLang="en-US"/>
              <a:t>レベル</a:t>
            </a:r>
            <a:endParaRPr lang="en-US" altLang="ja-JP"/>
          </a:p>
        </p:txBody>
      </p:sp>
      <p:sp>
        <p:nvSpPr>
          <p:cNvPr id="5" name="テキスト ボックス 4"/>
          <p:cNvSpPr txBox="1"/>
          <p:nvPr userDrawn="1"/>
        </p:nvSpPr>
        <p:spPr>
          <a:xfrm>
            <a:off x="9533614" y="6685130"/>
            <a:ext cx="382632" cy="18350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36000" rIns="72000" bIns="3600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ja-JP"/>
            </a:defPPr>
            <a:lvl1pPr algn="r">
              <a:lnSpc>
                <a:spcPct val="90000"/>
              </a:lnSpc>
              <a:defRPr sz="1000" b="1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</a:defRPr>
            </a:lvl1pPr>
          </a:lstStyle>
          <a:p>
            <a:pPr lvl="0"/>
            <a:fld id="{457CCD3B-3046-4064-9B9F-E77E18CB25C9}" type="slidenum">
              <a:rPr lang="en-US" altLang="ja-JP" sz="800" smtClean="0">
                <a:solidFill>
                  <a:srgbClr val="4D4D4D"/>
                </a:solidFill>
                <a:latin typeface="+mn-ea"/>
                <a:ea typeface="+mn-ea"/>
              </a:rPr>
              <a:t>‹#›</a:t>
            </a:fld>
            <a:endParaRPr lang="ja-JP" altLang="en-US" sz="800">
              <a:solidFill>
                <a:srgbClr val="4D4D4D"/>
              </a:solidFill>
              <a:latin typeface="+mn-ea"/>
              <a:ea typeface="+mn-ea"/>
            </a:endParaRPr>
          </a:p>
        </p:txBody>
      </p:sp>
      <p:sp>
        <p:nvSpPr>
          <p:cNvPr id="10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960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latinLnBrk="0">
              <a:buNone/>
            </a:pPr>
            <a:r>
              <a:rPr kumimoji="1" lang="en-US" altLang="ja-JP"/>
              <a:t>TEXT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24782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  <p:sldLayoutId id="2147483714" r:id="rId3"/>
    <p:sldLayoutId id="2147483704" r:id="rId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lang="ja-JP" altLang="en-US" sz="2200" kern="1200" noProof="0" dirty="0">
          <a:solidFill>
            <a:srgbClr val="202C5C"/>
          </a:solidFill>
          <a:latin typeface="+mj-lt"/>
          <a:ea typeface="+mj-ea"/>
          <a:cs typeface="Meiryo UI" panose="020B0604030504040204" pitchFamily="50" charset="-128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5pPr>
      <a:lvl6pPr marL="4572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6pPr>
      <a:lvl7pPr marL="9144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7pPr>
      <a:lvl8pPr marL="13716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8pPr>
      <a:lvl9pPr marL="18288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9pPr>
    </p:titleStyle>
    <p:bodyStyle>
      <a:lvl1pPr algn="l" rtl="0" eaLnBrk="1" fontAlgn="base" hangingPunct="1">
        <a:spcBef>
          <a:spcPts val="6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1pPr>
      <a:lvl2pPr marL="450850" indent="-196850" algn="l" rtl="0" eaLnBrk="1" fontAlgn="base" hangingPunct="1">
        <a:spcBef>
          <a:spcPts val="600"/>
        </a:spcBef>
        <a:spcAft>
          <a:spcPct val="0"/>
        </a:spcAft>
        <a:buSzPct val="90000"/>
        <a:buFont typeface="Arial" panose="020B0604020202020204" pitchFamily="34" charset="0"/>
        <a:buChar char="●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2pPr>
      <a:lvl3pPr marL="846138" indent="-179388" algn="l" rtl="0" eaLnBrk="1" fontAlgn="base" hangingPunct="1">
        <a:spcBef>
          <a:spcPts val="600"/>
        </a:spcBef>
        <a:spcAft>
          <a:spcPct val="0"/>
        </a:spcAft>
        <a:buSzPct val="90000"/>
        <a:buChar char="–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3pPr>
      <a:lvl4pPr marL="1228725" indent="-158750" algn="l" rtl="0" eaLnBrk="1" fontAlgn="base" hangingPunct="1">
        <a:spcBef>
          <a:spcPts val="600"/>
        </a:spcBef>
        <a:spcAft>
          <a:spcPct val="0"/>
        </a:spcAft>
        <a:buSzPct val="70000"/>
        <a:buFont typeface="Arial" panose="020B0604020202020204" pitchFamily="34" charset="0"/>
        <a:buChar char="○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4pPr>
      <a:lvl5pPr marL="1617663" indent="-176213" algn="l" rtl="0" eaLnBrk="1" fontAlgn="base" hangingPunct="1">
        <a:spcBef>
          <a:spcPts val="600"/>
        </a:spcBef>
        <a:spcAft>
          <a:spcPct val="0"/>
        </a:spcAft>
        <a:buSzPct val="70000"/>
        <a:buChar char="–"/>
        <a:defRPr kumimoji="1" sz="1600">
          <a:solidFill>
            <a:schemeClr val="tx1"/>
          </a:solidFill>
          <a:latin typeface="+mn-lt"/>
          <a:ea typeface="+mn-ea"/>
          <a:cs typeface="メイリオ" pitchFamily="50" charset="-128"/>
        </a:defRPr>
      </a:lvl5pPr>
      <a:lvl6pPr marL="2038350" indent="0" algn="l" rtl="0" eaLnBrk="1" fontAlgn="base" hangingPunct="1">
        <a:spcBef>
          <a:spcPct val="30000"/>
        </a:spcBef>
        <a:spcAft>
          <a:spcPct val="0"/>
        </a:spcAft>
        <a:buSzPct val="70000"/>
        <a:buNone/>
        <a:defRPr kumimoji="1">
          <a:solidFill>
            <a:schemeClr val="tx1"/>
          </a:solidFill>
          <a:latin typeface="+mn-lt"/>
          <a:ea typeface="+mn-ea"/>
        </a:defRPr>
      </a:lvl6pPr>
      <a:lvl7pPr marL="27241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7pPr>
      <a:lvl8pPr marL="31813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8pPr>
      <a:lvl9pPr marL="36385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gchartz.com/gamedb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19" Type="http://schemas.openxmlformats.org/officeDocument/2006/relationships/image" Target="../media/image19.pn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eyuto.com/blog/top-10-ott-video-streaming-services-2023#:~:text=Which%20ott%20platform%20has%20the,200%20million%20subscribers%20in%202023" TargetMode="External"/><Relationship Id="rId2" Type="http://schemas.openxmlformats.org/officeDocument/2006/relationships/hyperlink" Target="https://www.insidermonkey.com/blog/5-biggest-movie-production-companies-in-the-world-1085847/?singlepage=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towardsdatascience.com/cosine-similarity-how-does-it-measure-the-similarity-maths-behind-and-usage-in-python-50ad30aad7db" TargetMode="External"/><Relationship Id="rId5" Type="http://schemas.openxmlformats.org/officeDocument/2006/relationships/hyperlink" Target="https://aman-makwana101932.medium.com/understanding-recommendation-system-and-knn-with-project-book-recommendation-system-c648e47ff4f6" TargetMode="External"/><Relationship Id="rId4" Type="http://schemas.openxmlformats.org/officeDocument/2006/relationships/hyperlink" Target="https://www.storybiz.tech/entertainment/business-model-film-television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45230505-309A-D65C-3DA2-9043C215C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3040" y="5166243"/>
            <a:ext cx="2733255" cy="800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C9ACA2-A3AE-D6EF-CC33-B149455093C7}"/>
              </a:ext>
            </a:extLst>
          </p:cNvPr>
          <p:cNvSpPr txBox="1"/>
          <p:nvPr/>
        </p:nvSpPr>
        <p:spPr>
          <a:xfrm>
            <a:off x="770819" y="2199379"/>
            <a:ext cx="1783080" cy="282573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lang="en-US" b="1" dirty="0">
                <a:solidFill>
                  <a:srgbClr val="4A4A4A"/>
                </a:solidFill>
                <a:latin typeface="Quattrocento Sans" panose="020B0502050000020003" pitchFamily="34" charset="0"/>
              </a:rPr>
              <a:t>November</a:t>
            </a:r>
            <a:r>
              <a:rPr lang="en-US" b="1" i="0" u="none" dirty="0">
                <a:solidFill>
                  <a:srgbClr val="4A4A4A"/>
                </a:solidFill>
                <a:effectLst/>
                <a:latin typeface="Quattrocento Sans" panose="020B0502050000020003" pitchFamily="34" charset="0"/>
              </a:rPr>
              <a:t> 14, 2023</a:t>
            </a:r>
            <a:endParaRPr lang="en-US" b="1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A29DD16F-C434-F01B-B19D-AAD93C5C2D57}"/>
              </a:ext>
            </a:extLst>
          </p:cNvPr>
          <p:cNvSpPr txBox="1">
            <a:spLocks/>
          </p:cNvSpPr>
          <p:nvPr/>
        </p:nvSpPr>
        <p:spPr bwMode="auto">
          <a:xfrm>
            <a:off x="770819" y="534831"/>
            <a:ext cx="8194042" cy="1021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lang="ja-JP" altLang="en-US" sz="2400" b="1" kern="1200" noProof="0" smtClean="0">
                <a:solidFill>
                  <a:schemeClr val="tx2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dirty="0"/>
              <a:t>AML 2304 – Natural Language Processing</a:t>
            </a:r>
          </a:p>
          <a:p>
            <a:r>
              <a:rPr lang="en-US" sz="3500" strike="sngStrike" dirty="0"/>
              <a:t>Movie Sentiment Analysis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4D82B57-FC93-F808-D711-41D7C57716AB}"/>
              </a:ext>
            </a:extLst>
          </p:cNvPr>
          <p:cNvSpPr txBox="1">
            <a:spLocks/>
          </p:cNvSpPr>
          <p:nvPr/>
        </p:nvSpPr>
        <p:spPr>
          <a:xfrm>
            <a:off x="770820" y="3844601"/>
            <a:ext cx="3959224" cy="2761521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spAutoFit/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ja-JP" altLang="en-US" sz="3200" b="1" kern="1200" noProof="0">
                <a:solidFill>
                  <a:schemeClr val="tx2"/>
                </a:solidFill>
                <a:latin typeface="+mn-lt"/>
                <a:ea typeface="+mn-ea"/>
                <a:cs typeface="Meiryo UI" panose="020B0604030504040204" pitchFamily="50" charset="-128"/>
              </a:defRPr>
            </a:lvl1pPr>
            <a:lvl2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2pPr>
            <a:lvl3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3pPr>
            <a:lvl4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4pPr>
            <a:lvl5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5pPr>
            <a:lvl6pPr marL="4572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6pPr>
            <a:lvl7pPr marL="9144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7pPr>
            <a:lvl8pPr marL="13716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8pPr>
            <a:lvl9pPr marL="18288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9pPr>
          </a:lstStyle>
          <a:p>
            <a:r>
              <a:rPr lang="en-US" altLang="ja-JP" sz="1800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  <a:t>Submitted by Group 3 :</a:t>
            </a:r>
            <a:endParaRPr lang="en-US" sz="1800" b="0" dirty="0">
              <a:latin typeface="Calibri" panose="020F0502020204030204" pitchFamily="34" charset="0"/>
            </a:endParaRPr>
          </a:p>
          <a:p>
            <a:r>
              <a:rPr lang="en-US" sz="1800" b="0" dirty="0">
                <a:latin typeface="Calibri" panose="020F0502020204030204" pitchFamily="34" charset="0"/>
              </a:rPr>
              <a:t>Abhishek </a:t>
            </a:r>
            <a:r>
              <a:rPr lang="en-US" sz="1800" b="0" dirty="0" err="1">
                <a:latin typeface="Calibri" panose="020F0502020204030204" pitchFamily="34" charset="0"/>
              </a:rPr>
              <a:t>Natani</a:t>
            </a:r>
            <a:endParaRPr lang="en-US" sz="1800" b="0" dirty="0">
              <a:latin typeface="Calibri" panose="020F0502020204030204" pitchFamily="34" charset="0"/>
            </a:endParaRPr>
          </a:p>
          <a:p>
            <a:r>
              <a:rPr lang="en-US" sz="1800" b="0" dirty="0" err="1">
                <a:latin typeface="Calibri" panose="020F0502020204030204" pitchFamily="34" charset="0"/>
              </a:rPr>
              <a:t>Auradee</a:t>
            </a:r>
            <a:r>
              <a:rPr lang="en-US" sz="1800" b="0" dirty="0">
                <a:latin typeface="Calibri" panose="020F0502020204030204" pitchFamily="34" charset="0"/>
              </a:rPr>
              <a:t> Castro</a:t>
            </a:r>
          </a:p>
          <a:p>
            <a:r>
              <a:rPr lang="en-US" sz="1800" b="0" dirty="0">
                <a:latin typeface="Calibri" panose="020F0502020204030204" pitchFamily="34" charset="0"/>
              </a:rPr>
              <a:t>Bhumika Rajendra Babu</a:t>
            </a:r>
            <a:br>
              <a:rPr lang="en-US" sz="1800" b="0" dirty="0">
                <a:latin typeface="Calibri" panose="020F0502020204030204" pitchFamily="34" charset="0"/>
              </a:rPr>
            </a:br>
            <a:r>
              <a:rPr lang="en-US" sz="1800" b="0" dirty="0">
                <a:latin typeface="Calibri" panose="020F0502020204030204" pitchFamily="34" charset="0"/>
              </a:rPr>
              <a:t>Miraj Sinya </a:t>
            </a:r>
            <a:br>
              <a:rPr lang="en-US" sz="1800" b="0" dirty="0">
                <a:latin typeface="Calibri" panose="020F0502020204030204" pitchFamily="34" charset="0"/>
              </a:rPr>
            </a:br>
            <a:r>
              <a:rPr lang="en-US" sz="1800" b="0" dirty="0">
                <a:latin typeface="Calibri" panose="020F0502020204030204" pitchFamily="34" charset="0"/>
              </a:rPr>
              <a:t>Olivia </a:t>
            </a:r>
            <a:r>
              <a:rPr lang="en-US" sz="1800" b="0" dirty="0" err="1">
                <a:latin typeface="Calibri" panose="020F0502020204030204" pitchFamily="34" charset="0"/>
              </a:rPr>
              <a:t>Deguit</a:t>
            </a:r>
            <a:r>
              <a:rPr lang="en-US" sz="1800" b="0" dirty="0">
                <a:latin typeface="Calibri" panose="020F0502020204030204" pitchFamily="34" charset="0"/>
              </a:rPr>
              <a:t> </a:t>
            </a:r>
          </a:p>
          <a:p>
            <a:r>
              <a:rPr lang="en-US" sz="1800" b="0" dirty="0">
                <a:latin typeface="Calibri" panose="020F0502020204030204" pitchFamily="34" charset="0"/>
              </a:rPr>
              <a:t>Rochan Mehta</a:t>
            </a:r>
          </a:p>
          <a:p>
            <a:r>
              <a:rPr lang="en-US" sz="1800" b="0" dirty="0">
                <a:latin typeface="Calibri" panose="020F0502020204030204" pitchFamily="34" charset="0"/>
              </a:rPr>
              <a:t>Roger Mais</a:t>
            </a:r>
          </a:p>
          <a:p>
            <a:r>
              <a:rPr lang="en-US" sz="1800" b="0" dirty="0">
                <a:latin typeface="Calibri" panose="020F0502020204030204" pitchFamily="34" charset="0"/>
              </a:rPr>
              <a:t>Varun Sharma </a:t>
            </a:r>
            <a:endParaRPr lang="en-US" dirty="0">
              <a:solidFill>
                <a:srgbClr val="182044"/>
              </a:solidFill>
              <a:latin typeface="+mj-lt"/>
              <a:ea typeface="+mj-ea"/>
              <a:cs typeface="Arial Bold" panose="020B070402020202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6F01F978-CE85-1377-6EDE-D5FEBD8CE2D3}"/>
              </a:ext>
            </a:extLst>
          </p:cNvPr>
          <p:cNvSpPr txBox="1">
            <a:spLocks/>
          </p:cNvSpPr>
          <p:nvPr/>
        </p:nvSpPr>
        <p:spPr>
          <a:xfrm>
            <a:off x="770819" y="2840883"/>
            <a:ext cx="3959224" cy="621833"/>
          </a:xfrm>
          <a:prstGeom prst="rect">
            <a:avLst/>
          </a:prstGeom>
        </p:spPr>
        <p:txBody>
          <a:bodyPr vert="horz" wrap="square" lIns="0" tIns="36000" rIns="0" bIns="0" rtlCol="0" anchor="ctr" anchorCtr="0">
            <a:spAutoFit/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kumimoji="1" lang="ja-JP" altLang="en-US" sz="3200" b="1" kern="1200" noProof="0">
                <a:solidFill>
                  <a:schemeClr val="tx2"/>
                </a:solidFill>
                <a:latin typeface="+mn-lt"/>
                <a:ea typeface="+mn-ea"/>
                <a:cs typeface="Meiryo UI" panose="020B0604030504040204" pitchFamily="50" charset="-128"/>
              </a:defRPr>
            </a:lvl1pPr>
            <a:lvl2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2pPr>
            <a:lvl3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3pPr>
            <a:lvl4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4pPr>
            <a:lvl5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5pPr>
            <a:lvl6pPr marL="4572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6pPr>
            <a:lvl7pPr marL="9144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7pPr>
            <a:lvl8pPr marL="13716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8pPr>
            <a:lvl9pPr marL="1828800"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2"/>
                </a:solidFill>
                <a:latin typeface="ＭＳ Ｐゴシック" pitchFamily="50" charset="-128"/>
                <a:ea typeface="ＭＳ Ｐゴシック" pitchFamily="50" charset="-128"/>
              </a:defRPr>
            </a:lvl9pPr>
          </a:lstStyle>
          <a:p>
            <a:r>
              <a:rPr lang="en-US" altLang="ja-JP" sz="1800" dirty="0">
                <a:solidFill>
                  <a:srgbClr val="182044"/>
                </a:solidFill>
                <a:latin typeface="+mj-lt"/>
                <a:ea typeface="+mj-ea"/>
                <a:cs typeface="Arial Bold" panose="020B0704020202020204" pitchFamily="34" charset="0"/>
              </a:rPr>
              <a:t>Submitted to :</a:t>
            </a:r>
          </a:p>
          <a:p>
            <a:r>
              <a:rPr lang="en-US" altLang="ja-JP" sz="1800" b="0" dirty="0">
                <a:latin typeface="+mj-lt"/>
                <a:ea typeface="+mj-ea"/>
                <a:cs typeface="Arial Bold" panose="020B0704020202020204" pitchFamily="34" charset="0"/>
              </a:rPr>
              <a:t>Prof. Bhavik Gandhi</a:t>
            </a:r>
            <a:endParaRPr lang="en-US" b="0" dirty="0">
              <a:latin typeface="+mj-lt"/>
              <a:ea typeface="+mj-ea"/>
              <a:cs typeface="Arial Bold" panose="020B07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744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FAEFB0-D429-0836-F9FE-61F429611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ase Background (WIP)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F7AAA0-6D2F-909C-1E50-4F93904827DA}"/>
              </a:ext>
            </a:extLst>
          </p:cNvPr>
          <p:cNvSpPr txBox="1"/>
          <p:nvPr/>
        </p:nvSpPr>
        <p:spPr>
          <a:xfrm>
            <a:off x="457201" y="937549"/>
            <a:ext cx="8991599" cy="4960777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Client wants to venture into the Video Game Industry and has requested our assistance in understanding the market, and at the same time to develop a recommendation system for video game titles based on user preferences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Dataset containing information of video game such as sales (in units), genre, release year, platform, critic score and user scores, is accessible to the public on </a:t>
            </a:r>
            <a:r>
              <a:rPr lang="en-US" err="1">
                <a:solidFill>
                  <a:srgbClr val="0070C0"/>
                </a:solidFill>
                <a:latin typeface="+mn-lt"/>
                <a:ea typeface="+mn-ea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GChartz</a:t>
            </a:r>
            <a:r>
              <a:rPr lang="en-US">
                <a:solidFill>
                  <a:srgbClr val="0070C0"/>
                </a:solidFill>
                <a:latin typeface="+mn-lt"/>
                <a:ea typeface="+mn-ea"/>
              </a:rPr>
              <a:t>, </a:t>
            </a:r>
            <a:r>
              <a:rPr lang="en-US">
                <a:latin typeface="+mn-lt"/>
                <a:ea typeface="+mn-ea"/>
              </a:rPr>
              <a:t>which is used for cross-validating the data collected from Kaggle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+mn-lt"/>
                <a:ea typeface="+mn-ea"/>
              </a:rPr>
              <a:t>Deliverables to the client:</a:t>
            </a:r>
          </a:p>
          <a:p>
            <a:pPr marL="857250" lvl="1" indent="-40005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b="1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Recommendation Model</a:t>
            </a:r>
            <a:r>
              <a:rPr lang="en-US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 </a:t>
            </a:r>
            <a:r>
              <a:rPr lang="en-US">
                <a:latin typeface="+mn-lt"/>
                <a:ea typeface="+mn-ea"/>
              </a:rPr>
              <a:t>that provides suggestions for the video game titles to users based on the game title and platform </a:t>
            </a:r>
            <a:r>
              <a:rPr lang="en-US" i="1">
                <a:latin typeface="+mn-lt"/>
                <a:ea typeface="+mn-ea"/>
              </a:rPr>
              <a:t>(optional)</a:t>
            </a:r>
            <a:r>
              <a:rPr lang="en-US">
                <a:latin typeface="+mn-lt"/>
                <a:ea typeface="+mn-ea"/>
              </a:rPr>
              <a:t> as input</a:t>
            </a:r>
          </a:p>
          <a:p>
            <a:pPr marL="857250" lvl="1" indent="-400050">
              <a:spcBef>
                <a:spcPts val="600"/>
              </a:spcBef>
              <a:spcAft>
                <a:spcPts val="600"/>
              </a:spcAft>
              <a:buFont typeface="+mj-lt"/>
              <a:buAutoNum type="alphaLcPeriod"/>
            </a:pPr>
            <a:r>
              <a:rPr lang="en-US" b="1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</a:rPr>
              <a:t>Market Analysis Report </a:t>
            </a:r>
            <a:r>
              <a:rPr lang="en-US">
                <a:latin typeface="+mn-lt"/>
                <a:ea typeface="+mn-ea"/>
              </a:rPr>
              <a:t>that presents an analysis of the Video Game Industry trend using available data up to the year 2020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Regional Sales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Genre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Segoe UI" panose="020B0502040204020203" pitchFamily="34" charset="0"/>
              <a:buChar char="₋"/>
            </a:pPr>
            <a:r>
              <a:rPr lang="en-US">
                <a:latin typeface="+mn-lt"/>
                <a:ea typeface="+mn-ea"/>
              </a:rPr>
              <a:t>Platform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94563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9482C-9809-78C2-DBBB-630F55969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ss Media &amp; Entertainment Domain (1/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6EE26B-A320-1117-C533-672582AFE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56" y="682674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 err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xxx</a:t>
            </a:r>
            <a:endParaRPr lang="ja-JP" altLang="en-US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64" name="グループ化 3">
            <a:extLst>
              <a:ext uri="{FF2B5EF4-FFF2-40B4-BE49-F238E27FC236}">
                <a16:creationId xmlns:a16="http://schemas.microsoft.com/office/drawing/2014/main" id="{94A6FC51-2A6A-C64C-F560-E7EF57104345}"/>
              </a:ext>
            </a:extLst>
          </p:cNvPr>
          <p:cNvGrpSpPr/>
          <p:nvPr/>
        </p:nvGrpSpPr>
        <p:grpSpPr>
          <a:xfrm>
            <a:off x="162561" y="1304685"/>
            <a:ext cx="5103122" cy="318924"/>
            <a:chOff x="1016089" y="1458279"/>
            <a:chExt cx="2016000" cy="324598"/>
          </a:xfrm>
        </p:grpSpPr>
        <p:sp>
          <p:nvSpPr>
            <p:cNvPr id="65" name="Rectangle 2">
              <a:extLst>
                <a:ext uri="{FF2B5EF4-FFF2-40B4-BE49-F238E27FC236}">
                  <a16:creationId xmlns:a16="http://schemas.microsoft.com/office/drawing/2014/main" id="{19FB53DD-2BE0-784B-C9F2-ABD840A0A4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886" y="1458279"/>
              <a:ext cx="636419" cy="324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Business Model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66" name="直線コネクタ 4">
              <a:extLst>
                <a:ext uri="{FF2B5EF4-FFF2-40B4-BE49-F238E27FC236}">
                  <a16:creationId xmlns:a16="http://schemas.microsoft.com/office/drawing/2014/main" id="{94743F69-DEC8-4422-7B57-C74BB4DF2807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7" name="グループ化 3">
            <a:extLst>
              <a:ext uri="{FF2B5EF4-FFF2-40B4-BE49-F238E27FC236}">
                <a16:creationId xmlns:a16="http://schemas.microsoft.com/office/drawing/2014/main" id="{4E32D611-33D6-3F43-CD96-33E3B70382CE}"/>
              </a:ext>
            </a:extLst>
          </p:cNvPr>
          <p:cNvGrpSpPr/>
          <p:nvPr/>
        </p:nvGrpSpPr>
        <p:grpSpPr>
          <a:xfrm>
            <a:off x="5615365" y="1317788"/>
            <a:ext cx="4056285" cy="299820"/>
            <a:chOff x="1016089" y="1463948"/>
            <a:chExt cx="2016000" cy="318925"/>
          </a:xfrm>
        </p:grpSpPr>
        <p:sp>
          <p:nvSpPr>
            <p:cNvPr id="68" name="Rectangle 2">
              <a:extLst>
                <a:ext uri="{FF2B5EF4-FFF2-40B4-BE49-F238E27FC236}">
                  <a16:creationId xmlns:a16="http://schemas.microsoft.com/office/drawing/2014/main" id="{38E2F3B4-794A-839E-7C5C-817CAA46D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8398" y="1463948"/>
              <a:ext cx="351395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69" name="直線コネクタ 4">
              <a:extLst>
                <a:ext uri="{FF2B5EF4-FFF2-40B4-BE49-F238E27FC236}">
                  <a16:creationId xmlns:a16="http://schemas.microsoft.com/office/drawing/2014/main" id="{C50DC758-8E57-DFFB-E8C3-1AC71CF76ADD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21E4AE07-19DF-13FB-C2CC-B69A16EFA3B0}"/>
              </a:ext>
            </a:extLst>
          </p:cNvPr>
          <p:cNvGrpSpPr/>
          <p:nvPr/>
        </p:nvGrpSpPr>
        <p:grpSpPr>
          <a:xfrm>
            <a:off x="196318" y="2137475"/>
            <a:ext cx="5052461" cy="4025436"/>
            <a:chOff x="196318" y="2149890"/>
            <a:chExt cx="5052461" cy="4025436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B0CFEFC-3C64-163A-6E06-35182CF99097}"/>
                </a:ext>
              </a:extLst>
            </p:cNvPr>
            <p:cNvSpPr/>
            <p:nvPr/>
          </p:nvSpPr>
          <p:spPr bwMode="auto">
            <a:xfrm>
              <a:off x="1881328" y="2170340"/>
              <a:ext cx="1615361" cy="178964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2382FF4-2D98-61AF-23AD-8637E0328A91}"/>
                </a:ext>
              </a:extLst>
            </p:cNvPr>
            <p:cNvSpPr/>
            <p:nvPr/>
          </p:nvSpPr>
          <p:spPr bwMode="auto">
            <a:xfrm>
              <a:off x="2694874" y="3250636"/>
              <a:ext cx="747788" cy="61895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3D82430-26B0-9A33-318E-E220A859D2CA}"/>
                </a:ext>
              </a:extLst>
            </p:cNvPr>
            <p:cNvSpPr/>
            <p:nvPr/>
          </p:nvSpPr>
          <p:spPr bwMode="auto">
            <a:xfrm>
              <a:off x="1931569" y="3250636"/>
              <a:ext cx="709558" cy="61895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E69D2F4D-E174-6CE4-C159-2CC695BC965D}"/>
                </a:ext>
              </a:extLst>
            </p:cNvPr>
            <p:cNvSpPr txBox="1"/>
            <p:nvPr/>
          </p:nvSpPr>
          <p:spPr>
            <a:xfrm>
              <a:off x="1909837" y="3339630"/>
              <a:ext cx="747788" cy="374906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tx2"/>
                  </a:solidFill>
                  <a:latin typeface="+mn-lt"/>
                  <a:ea typeface="+mn-ea"/>
                </a:rPr>
                <a:t>*OTT Distributor</a:t>
              </a:r>
              <a:endParaRPr kumimoji="1" lang="en-US" sz="110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CE86D58-3AB2-14A4-3D70-36B4FFFB06A7}"/>
                </a:ext>
              </a:extLst>
            </p:cNvPr>
            <p:cNvSpPr txBox="1"/>
            <p:nvPr/>
          </p:nvSpPr>
          <p:spPr>
            <a:xfrm>
              <a:off x="2676819" y="3339629"/>
              <a:ext cx="747787" cy="374906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tx2"/>
                  </a:solidFill>
                  <a:latin typeface="+mn-lt"/>
                  <a:ea typeface="+mn-ea"/>
                </a:rPr>
                <a:t>Theatrical Distributor</a:t>
              </a:r>
              <a:endParaRPr kumimoji="1" lang="en-US" sz="1100" dirty="0">
                <a:latin typeface="+mn-lt"/>
                <a:ea typeface="+mn-ea"/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0BCFCE62-4CD6-B52E-1F5F-1BCD157AAE9D}"/>
                </a:ext>
              </a:extLst>
            </p:cNvPr>
            <p:cNvCxnSpPr/>
            <p:nvPr/>
          </p:nvCxnSpPr>
          <p:spPr bwMode="auto">
            <a:xfrm>
              <a:off x="1311048" y="3388397"/>
              <a:ext cx="552910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C5A03A19-CCC4-1619-1E8F-7BFA37864BC2}"/>
                </a:ext>
              </a:extLst>
            </p:cNvPr>
            <p:cNvSpPr/>
            <p:nvPr/>
          </p:nvSpPr>
          <p:spPr bwMode="auto">
            <a:xfrm>
              <a:off x="2646577" y="5010354"/>
              <a:ext cx="1217061" cy="50761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EDE135B7-BE7D-C471-8D4B-C552FBE8878B}"/>
                </a:ext>
              </a:extLst>
            </p:cNvPr>
            <p:cNvSpPr txBox="1"/>
            <p:nvPr/>
          </p:nvSpPr>
          <p:spPr>
            <a:xfrm>
              <a:off x="1914455" y="2149890"/>
              <a:ext cx="1497370" cy="25179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400" b="1" dirty="0">
                  <a:latin typeface="+mn-lt"/>
                  <a:ea typeface="+mn-ea"/>
                </a:rPr>
                <a:t>Distributor</a:t>
              </a:r>
              <a:endParaRPr kumimoji="1" lang="en-US" sz="1400" b="1" dirty="0">
                <a:latin typeface="+mn-lt"/>
                <a:ea typeface="+mn-ea"/>
              </a:endParaRP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07CA3999-76A8-293F-4A35-705987BB9150}"/>
                </a:ext>
              </a:extLst>
            </p:cNvPr>
            <p:cNvCxnSpPr/>
            <p:nvPr/>
          </p:nvCxnSpPr>
          <p:spPr bwMode="auto">
            <a:xfrm flipH="1">
              <a:off x="1304952" y="3620801"/>
              <a:ext cx="552910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rgbClr val="33CC33"/>
              </a:solidFill>
              <a:prstDash val="dash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DC08EE69-E367-0C46-DF10-C36B54A04099}"/>
                </a:ext>
              </a:extLst>
            </p:cNvPr>
            <p:cNvGrpSpPr/>
            <p:nvPr/>
          </p:nvGrpSpPr>
          <p:grpSpPr>
            <a:xfrm>
              <a:off x="4146368" y="2249689"/>
              <a:ext cx="1102411" cy="1609508"/>
              <a:chOff x="4123659" y="2286447"/>
              <a:chExt cx="1102411" cy="1249666"/>
            </a:xfrm>
          </p:grpSpPr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22276677-B73D-A8E3-7DC8-729041EF94B9}"/>
                  </a:ext>
                </a:extLst>
              </p:cNvPr>
              <p:cNvSpPr/>
              <p:nvPr/>
            </p:nvSpPr>
            <p:spPr bwMode="auto">
              <a:xfrm>
                <a:off x="4123659" y="2303633"/>
                <a:ext cx="1102411" cy="1232480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AD95EA41-F21D-88C3-4FEC-A3E90B1A483D}"/>
                  </a:ext>
                </a:extLst>
              </p:cNvPr>
              <p:cNvSpPr txBox="1"/>
              <p:nvPr/>
            </p:nvSpPr>
            <p:spPr>
              <a:xfrm>
                <a:off x="4184819" y="2286447"/>
                <a:ext cx="1018876" cy="195500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pPr algn="ctr"/>
                <a:r>
                  <a:rPr lang="en-US" sz="1400" b="1" dirty="0">
                    <a:latin typeface="+mn-lt"/>
                    <a:ea typeface="+mn-ea"/>
                  </a:rPr>
                  <a:t>Cinema</a:t>
                </a:r>
                <a:endParaRPr kumimoji="1" lang="en-US" sz="1400" b="1" dirty="0">
                  <a:latin typeface="+mn-lt"/>
                  <a:ea typeface="+mn-ea"/>
                </a:endParaRPr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80D6E062-C375-271D-1578-0EBC9A65C60D}"/>
                  </a:ext>
                </a:extLst>
              </p:cNvPr>
              <p:cNvSpPr txBox="1"/>
              <p:nvPr/>
            </p:nvSpPr>
            <p:spPr>
              <a:xfrm>
                <a:off x="4184819" y="2450419"/>
                <a:ext cx="1018876" cy="107967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100" dirty="0">
                    <a:latin typeface="+mn-lt"/>
                    <a:ea typeface="+mn-ea"/>
                  </a:rPr>
                  <a:t>Key Resource: Cinema Theatre</a:t>
                </a:r>
              </a:p>
              <a:p>
                <a:r>
                  <a:rPr kumimoji="1" lang="en-US" sz="1100" dirty="0">
                    <a:latin typeface="+mn-lt"/>
                    <a:ea typeface="+mn-ea"/>
                  </a:rPr>
                  <a:t> </a:t>
                </a:r>
              </a:p>
              <a:p>
                <a:r>
                  <a:rPr lang="en-US" sz="1100" dirty="0">
                    <a:latin typeface="+mn-lt"/>
                    <a:ea typeface="+mn-ea"/>
                  </a:rPr>
                  <a:t>Cost: Distributor’s share of Ticket sales</a:t>
                </a:r>
                <a:endParaRPr kumimoji="1" lang="en-US" sz="110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D17EDA9-1791-E364-7E75-1AB06709E60E}"/>
                </a:ext>
              </a:extLst>
            </p:cNvPr>
            <p:cNvSpPr txBox="1"/>
            <p:nvPr/>
          </p:nvSpPr>
          <p:spPr>
            <a:xfrm>
              <a:off x="2844761" y="5126831"/>
              <a:ext cx="1018876" cy="25179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400" b="1" dirty="0">
                  <a:latin typeface="+mn-lt"/>
                  <a:ea typeface="+mn-ea"/>
                </a:rPr>
                <a:t>Audience</a:t>
              </a:r>
              <a:endParaRPr kumimoji="1" lang="en-US" sz="1100" dirty="0">
                <a:latin typeface="+mn-lt"/>
                <a:ea typeface="+mn-ea"/>
              </a:endParaRPr>
            </a:p>
          </p:txBody>
        </p:sp>
        <p:cxnSp>
          <p:nvCxnSpPr>
            <p:cNvPr id="96" name="Connector: Elbow 95">
              <a:extLst>
                <a:ext uri="{FF2B5EF4-FFF2-40B4-BE49-F238E27FC236}">
                  <a16:creationId xmlns:a16="http://schemas.microsoft.com/office/drawing/2014/main" id="{BC4817FE-527C-1E11-DD37-AA896560A66E}"/>
                </a:ext>
              </a:extLst>
            </p:cNvPr>
            <p:cNvCxnSpPr>
              <a:cxnSpLocks/>
            </p:cNvCxnSpPr>
            <p:nvPr/>
          </p:nvCxnSpPr>
          <p:spPr bwMode="auto">
            <a:xfrm rot="5400000">
              <a:off x="3597626" y="4125216"/>
              <a:ext cx="1530626" cy="998601"/>
            </a:xfrm>
            <a:prstGeom prst="bentConnector3">
              <a:avLst>
                <a:gd name="adj1" fmla="val 100033"/>
              </a:avLst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Connector: Elbow 98">
              <a:extLst>
                <a:ext uri="{FF2B5EF4-FFF2-40B4-BE49-F238E27FC236}">
                  <a16:creationId xmlns:a16="http://schemas.microsoft.com/office/drawing/2014/main" id="{AEFE3441-2E99-F5EB-CED5-AC6CD0DEB805}"/>
                </a:ext>
              </a:extLst>
            </p:cNvPr>
            <p:cNvCxnSpPr/>
            <p:nvPr/>
          </p:nvCxnSpPr>
          <p:spPr bwMode="auto">
            <a:xfrm rot="5400000" flipH="1" flipV="1">
              <a:off x="3581638" y="4155128"/>
              <a:ext cx="1295281" cy="703428"/>
            </a:xfrm>
            <a:prstGeom prst="bentConnector3">
              <a:avLst>
                <a:gd name="adj1" fmla="val 113"/>
              </a:avLst>
            </a:prstGeom>
            <a:solidFill>
              <a:srgbClr val="FF6600"/>
            </a:solidFill>
            <a:ln w="19050" cap="flat" cmpd="sng" algn="ctr">
              <a:solidFill>
                <a:srgbClr val="33CC33"/>
              </a:solidFill>
              <a:prstDash val="dash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Connector: Elbow 114">
              <a:extLst>
                <a:ext uri="{FF2B5EF4-FFF2-40B4-BE49-F238E27FC236}">
                  <a16:creationId xmlns:a16="http://schemas.microsoft.com/office/drawing/2014/main" id="{EE6272F7-FF09-7412-45AA-432F4B44B119}"/>
                </a:ext>
              </a:extLst>
            </p:cNvPr>
            <p:cNvCxnSpPr/>
            <p:nvPr/>
          </p:nvCxnSpPr>
          <p:spPr bwMode="auto">
            <a:xfrm rot="16200000" flipV="1">
              <a:off x="1856996" y="4362623"/>
              <a:ext cx="1294414" cy="287570"/>
            </a:xfrm>
            <a:prstGeom prst="bentConnector3">
              <a:avLst>
                <a:gd name="adj1" fmla="val -38"/>
              </a:avLst>
            </a:prstGeom>
            <a:solidFill>
              <a:srgbClr val="FF6600"/>
            </a:solidFill>
            <a:ln w="19050" cap="flat" cmpd="sng" algn="ctr">
              <a:solidFill>
                <a:srgbClr val="33CC33"/>
              </a:solidFill>
              <a:prstDash val="dash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9" name="Connector: Elbow 118">
              <a:extLst>
                <a:ext uri="{FF2B5EF4-FFF2-40B4-BE49-F238E27FC236}">
                  <a16:creationId xmlns:a16="http://schemas.microsoft.com/office/drawing/2014/main" id="{7FAFAB20-2A9F-E8ED-6BF1-DCC355039EED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H="1">
              <a:off x="1617162" y="4347799"/>
              <a:ext cx="1509036" cy="552618"/>
            </a:xfrm>
            <a:prstGeom prst="bentConnector3">
              <a:avLst>
                <a:gd name="adj1" fmla="val 99991"/>
              </a:avLst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A5E22513-E0B5-602E-5BF7-9227A660CDFE}"/>
                </a:ext>
              </a:extLst>
            </p:cNvPr>
            <p:cNvSpPr txBox="1"/>
            <p:nvPr/>
          </p:nvSpPr>
          <p:spPr>
            <a:xfrm>
              <a:off x="3447635" y="3613865"/>
              <a:ext cx="747787" cy="498016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Distributor ‘s</a:t>
              </a:r>
            </a:p>
            <a:p>
              <a:pPr algn="ctr"/>
              <a:r>
                <a:rPr kumimoji="1"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share</a:t>
              </a:r>
              <a:endParaRPr kumimoji="1" lang="en-US" sz="1000" dirty="0">
                <a:latin typeface="+mn-lt"/>
                <a:ea typeface="+mn-ea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59EC0D48-6E66-6486-3940-42FC69C6C9E6}"/>
                </a:ext>
              </a:extLst>
            </p:cNvPr>
            <p:cNvSpPr txBox="1"/>
            <p:nvPr/>
          </p:nvSpPr>
          <p:spPr>
            <a:xfrm>
              <a:off x="1420737" y="3613213"/>
              <a:ext cx="417845" cy="20562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100" dirty="0">
                  <a:solidFill>
                    <a:schemeClr val="tx2"/>
                  </a:solidFill>
                  <a:latin typeface="+mn-lt"/>
                  <a:ea typeface="+mn-ea"/>
                </a:rPr>
                <a:t>Fees</a:t>
              </a:r>
              <a:endParaRPr kumimoji="1" lang="en-US" sz="1100" dirty="0">
                <a:latin typeface="+mn-lt"/>
                <a:ea typeface="+mn-ea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E905CD92-8C9C-21DA-EE2A-2CCC303FCFCC}"/>
                </a:ext>
              </a:extLst>
            </p:cNvPr>
            <p:cNvSpPr txBox="1"/>
            <p:nvPr/>
          </p:nvSpPr>
          <p:spPr>
            <a:xfrm>
              <a:off x="1277139" y="3171713"/>
              <a:ext cx="747787" cy="19024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Contract</a:t>
              </a:r>
              <a:endParaRPr kumimoji="1" lang="en-US" sz="1000" dirty="0">
                <a:latin typeface="+mn-lt"/>
                <a:ea typeface="+mn-ea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00263202-ED11-1BD2-9B0B-E0DD12A07A8E}"/>
                </a:ext>
              </a:extLst>
            </p:cNvPr>
            <p:cNvSpPr txBox="1"/>
            <p:nvPr/>
          </p:nvSpPr>
          <p:spPr>
            <a:xfrm>
              <a:off x="3508795" y="3171713"/>
              <a:ext cx="747787" cy="19024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Contract</a:t>
              </a:r>
              <a:endParaRPr kumimoji="1" lang="en-US" sz="1000" dirty="0">
                <a:latin typeface="+mn-lt"/>
                <a:ea typeface="+mn-ea"/>
              </a:endParaRP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3A16C758-CB51-7FA6-8B4D-1F115B6995EE}"/>
                </a:ext>
              </a:extLst>
            </p:cNvPr>
            <p:cNvSpPr txBox="1"/>
            <p:nvPr/>
          </p:nvSpPr>
          <p:spPr>
            <a:xfrm rot="16200000">
              <a:off x="2062142" y="4461679"/>
              <a:ext cx="838099" cy="19024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Subscription</a:t>
              </a:r>
              <a:endParaRPr kumimoji="1" lang="en-US" sz="1000" dirty="0">
                <a:latin typeface="+mn-lt"/>
                <a:ea typeface="+mn-ea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0C94BDB0-4843-CB06-A087-4BFE849D4225}"/>
                </a:ext>
              </a:extLst>
            </p:cNvPr>
            <p:cNvSpPr txBox="1"/>
            <p:nvPr/>
          </p:nvSpPr>
          <p:spPr>
            <a:xfrm rot="16200000">
              <a:off x="4044429" y="4461680"/>
              <a:ext cx="838099" cy="19024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Ticket Sales</a:t>
              </a:r>
              <a:endParaRPr kumimoji="1" lang="en-US" sz="1000" dirty="0">
                <a:latin typeface="+mn-lt"/>
                <a:ea typeface="+mn-ea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E6F5E276-A1BA-844D-C844-2ABABE474C8F}"/>
                </a:ext>
              </a:extLst>
            </p:cNvPr>
            <p:cNvSpPr txBox="1"/>
            <p:nvPr/>
          </p:nvSpPr>
          <p:spPr>
            <a:xfrm rot="16200000">
              <a:off x="1293927" y="4548634"/>
              <a:ext cx="1367542" cy="19024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On Demand </a:t>
              </a:r>
              <a:r>
                <a:rPr kumimoji="1"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Content</a:t>
              </a:r>
              <a:endParaRPr kumimoji="1" lang="en-US" sz="1000" dirty="0">
                <a:latin typeface="+mn-lt"/>
                <a:ea typeface="+mn-ea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9989F204-332A-7015-0462-3468051FDD75}"/>
                </a:ext>
              </a:extLst>
            </p:cNvPr>
            <p:cNvSpPr txBox="1"/>
            <p:nvPr/>
          </p:nvSpPr>
          <p:spPr>
            <a:xfrm rot="16200000">
              <a:off x="4360164" y="4579736"/>
              <a:ext cx="1155744" cy="19024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Cinema Experience</a:t>
              </a:r>
              <a:endParaRPr kumimoji="1" lang="en-US" sz="1000" dirty="0">
                <a:latin typeface="+mn-lt"/>
                <a:ea typeface="+mn-ea"/>
              </a:endParaRP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268D5AD8-67AD-AE21-9260-0DF8BDDC3BE0}"/>
                </a:ext>
              </a:extLst>
            </p:cNvPr>
            <p:cNvGrpSpPr/>
            <p:nvPr/>
          </p:nvGrpSpPr>
          <p:grpSpPr>
            <a:xfrm>
              <a:off x="196318" y="5389830"/>
              <a:ext cx="1588839" cy="785496"/>
              <a:chOff x="196318" y="4671886"/>
              <a:chExt cx="1588839" cy="785496"/>
            </a:xfrm>
          </p:grpSpPr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A410AEC4-AB8F-8044-0CFB-02809AF044CA}"/>
                  </a:ext>
                </a:extLst>
              </p:cNvPr>
              <p:cNvSpPr/>
              <p:nvPr/>
            </p:nvSpPr>
            <p:spPr bwMode="auto">
              <a:xfrm>
                <a:off x="196318" y="4671886"/>
                <a:ext cx="1588839" cy="78549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9C0B038B-2935-990C-C1C4-A4BC34754D75}"/>
                  </a:ext>
                </a:extLst>
              </p:cNvPr>
              <p:cNvGrpSpPr/>
              <p:nvPr/>
            </p:nvGrpSpPr>
            <p:grpSpPr>
              <a:xfrm>
                <a:off x="286112" y="4758062"/>
                <a:ext cx="1320413" cy="251795"/>
                <a:chOff x="286112" y="4758062"/>
                <a:chExt cx="1320413" cy="251795"/>
              </a:xfrm>
            </p:grpSpPr>
            <p:cxnSp>
              <p:nvCxnSpPr>
                <p:cNvPr id="163" name="Straight Arrow Connector 162">
                  <a:extLst>
                    <a:ext uri="{FF2B5EF4-FFF2-40B4-BE49-F238E27FC236}">
                      <a16:creationId xmlns:a16="http://schemas.microsoft.com/office/drawing/2014/main" id="{28727743-CAB9-6CC4-3971-6BA29088A6D4}"/>
                    </a:ext>
                  </a:extLst>
                </p:cNvPr>
                <p:cNvCxnSpPr/>
                <p:nvPr/>
              </p:nvCxnSpPr>
              <p:spPr bwMode="auto">
                <a:xfrm>
                  <a:off x="286112" y="4915267"/>
                  <a:ext cx="327346" cy="0"/>
                </a:xfrm>
                <a:prstGeom prst="straightConnector1">
                  <a:avLst/>
                </a:prstGeom>
                <a:solidFill>
                  <a:srgbClr val="FF6600"/>
                </a:solidFill>
                <a:ln w="19050" cap="flat" cmpd="sng" algn="ctr">
                  <a:solidFill>
                    <a:srgbClr val="33CC33"/>
                  </a:solidFill>
                  <a:prstDash val="dash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64" name="TextBox 163">
                  <a:extLst>
                    <a:ext uri="{FF2B5EF4-FFF2-40B4-BE49-F238E27FC236}">
                      <a16:creationId xmlns:a16="http://schemas.microsoft.com/office/drawing/2014/main" id="{B6EC403A-8615-33F2-720E-524F42A21727}"/>
                    </a:ext>
                  </a:extLst>
                </p:cNvPr>
                <p:cNvSpPr txBox="1"/>
                <p:nvPr/>
              </p:nvSpPr>
              <p:spPr>
                <a:xfrm>
                  <a:off x="641986" y="4758062"/>
                  <a:ext cx="964539" cy="251795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r>
                    <a:rPr kumimoji="1" lang="en-US" sz="1400" dirty="0">
                      <a:latin typeface="+mn-lt"/>
                      <a:ea typeface="+mn-ea"/>
                    </a:rPr>
                    <a:t>: Revenue</a:t>
                  </a:r>
                </a:p>
              </p:txBody>
            </p:sp>
          </p:grp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09C30D20-212D-B318-5B07-33FB0A47006F}"/>
                  </a:ext>
                </a:extLst>
              </p:cNvPr>
              <p:cNvGrpSpPr/>
              <p:nvPr/>
            </p:nvGrpSpPr>
            <p:grpSpPr>
              <a:xfrm>
                <a:off x="286112" y="5077453"/>
                <a:ext cx="1330573" cy="251795"/>
                <a:chOff x="286112" y="5077453"/>
                <a:chExt cx="1330573" cy="251795"/>
              </a:xfrm>
            </p:grpSpPr>
            <p:sp>
              <p:nvSpPr>
                <p:cNvPr id="165" name="TextBox 164">
                  <a:extLst>
                    <a:ext uri="{FF2B5EF4-FFF2-40B4-BE49-F238E27FC236}">
                      <a16:creationId xmlns:a16="http://schemas.microsoft.com/office/drawing/2014/main" id="{4492B261-50C0-D6B6-3C27-A8C404EF0D80}"/>
                    </a:ext>
                  </a:extLst>
                </p:cNvPr>
                <p:cNvSpPr txBox="1"/>
                <p:nvPr/>
              </p:nvSpPr>
              <p:spPr>
                <a:xfrm>
                  <a:off x="652146" y="5077453"/>
                  <a:ext cx="964539" cy="251795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r>
                    <a:rPr kumimoji="1" lang="en-US" sz="1400" dirty="0">
                      <a:latin typeface="+mn-lt"/>
                      <a:ea typeface="+mn-ea"/>
                    </a:rPr>
                    <a:t>: Content</a:t>
                  </a:r>
                </a:p>
              </p:txBody>
            </p:sp>
            <p:cxnSp>
              <p:nvCxnSpPr>
                <p:cNvPr id="166" name="Straight Arrow Connector 165">
                  <a:extLst>
                    <a:ext uri="{FF2B5EF4-FFF2-40B4-BE49-F238E27FC236}">
                      <a16:creationId xmlns:a16="http://schemas.microsoft.com/office/drawing/2014/main" id="{80EEEA00-EBA0-A7E0-B49F-04E88C965F10}"/>
                    </a:ext>
                  </a:extLst>
                </p:cNvPr>
                <p:cNvCxnSpPr/>
                <p:nvPr/>
              </p:nvCxnSpPr>
              <p:spPr bwMode="auto">
                <a:xfrm>
                  <a:off x="286112" y="5203350"/>
                  <a:ext cx="327346" cy="0"/>
                </a:xfrm>
                <a:prstGeom prst="straightConnector1">
                  <a:avLst/>
                </a:prstGeom>
                <a:solidFill>
                  <a:srgbClr val="FF6600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167" name="Straight Arrow Connector 166">
              <a:extLst>
                <a:ext uri="{FF2B5EF4-FFF2-40B4-BE49-F238E27FC236}">
                  <a16:creationId xmlns:a16="http://schemas.microsoft.com/office/drawing/2014/main" id="{3D6BBCD9-FF01-0806-1029-B62D16915B12}"/>
                </a:ext>
              </a:extLst>
            </p:cNvPr>
            <p:cNvCxnSpPr/>
            <p:nvPr/>
          </p:nvCxnSpPr>
          <p:spPr bwMode="auto">
            <a:xfrm>
              <a:off x="3442662" y="3388397"/>
              <a:ext cx="703706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9" name="Straight Arrow Connector 168">
              <a:extLst>
                <a:ext uri="{FF2B5EF4-FFF2-40B4-BE49-F238E27FC236}">
                  <a16:creationId xmlns:a16="http://schemas.microsoft.com/office/drawing/2014/main" id="{CA3376D2-307E-C248-25EB-9E897CCBBB94}"/>
                </a:ext>
              </a:extLst>
            </p:cNvPr>
            <p:cNvCxnSpPr/>
            <p:nvPr/>
          </p:nvCxnSpPr>
          <p:spPr bwMode="auto">
            <a:xfrm flipH="1">
              <a:off x="3441766" y="3620801"/>
              <a:ext cx="686369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rgbClr val="33CC33"/>
              </a:solidFill>
              <a:prstDash val="dash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5E01B596-B17A-7E8E-19DC-AB8DCCBA3093}"/>
                </a:ext>
              </a:extLst>
            </p:cNvPr>
            <p:cNvGrpSpPr/>
            <p:nvPr/>
          </p:nvGrpSpPr>
          <p:grpSpPr>
            <a:xfrm>
              <a:off x="202541" y="2260504"/>
              <a:ext cx="1102411" cy="1598697"/>
              <a:chOff x="202541" y="2260504"/>
              <a:chExt cx="1102411" cy="1598697"/>
            </a:xfrm>
          </p:grpSpPr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672F88F4-A753-8A84-C502-97AD13E7CF3A}"/>
                  </a:ext>
                </a:extLst>
              </p:cNvPr>
              <p:cNvGrpSpPr/>
              <p:nvPr/>
            </p:nvGrpSpPr>
            <p:grpSpPr>
              <a:xfrm>
                <a:off x="202541" y="2260504"/>
                <a:ext cx="1102411" cy="1598697"/>
                <a:chOff x="198490" y="2286825"/>
                <a:chExt cx="1102411" cy="1239222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4CDD7EDA-8C8C-AD0F-5282-86227D3C00F5}"/>
                    </a:ext>
                  </a:extLst>
                </p:cNvPr>
                <p:cNvSpPr/>
                <p:nvPr/>
              </p:nvSpPr>
              <p:spPr bwMode="auto">
                <a:xfrm>
                  <a:off x="198490" y="2298849"/>
                  <a:ext cx="1102411" cy="1227198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36000" tIns="36000" rIns="36000" bIns="0" numCol="1" rtlCol="0" anchor="ctr" anchorCtr="1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200" b="1" i="0" u="none" strike="noStrike" cap="none" normalizeH="0" baseline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+mn-lt"/>
                    <a:ea typeface="+mn-ea"/>
                  </a:endParaRP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FB22A53D-A04E-4953-5B43-167D0D623473}"/>
                    </a:ext>
                  </a:extLst>
                </p:cNvPr>
                <p:cNvSpPr txBox="1"/>
                <p:nvPr/>
              </p:nvSpPr>
              <p:spPr>
                <a:xfrm>
                  <a:off x="226955" y="2286825"/>
                  <a:ext cx="1018876" cy="195178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pPr algn="ctr"/>
                  <a:r>
                    <a:rPr kumimoji="1" lang="en-US" sz="1400" b="1" dirty="0">
                      <a:solidFill>
                        <a:srgbClr val="FF0000"/>
                      </a:solidFill>
                      <a:latin typeface="+mn-lt"/>
                      <a:ea typeface="+mn-ea"/>
                    </a:rPr>
                    <a:t>Producer</a:t>
                  </a:r>
                </a:p>
              </p:txBody>
            </p:sp>
          </p:grp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077EFBB0-D5A1-CB2B-C8A6-808F5D826300}"/>
                  </a:ext>
                </a:extLst>
              </p:cNvPr>
              <p:cNvSpPr txBox="1"/>
              <p:nvPr/>
            </p:nvSpPr>
            <p:spPr>
              <a:xfrm>
                <a:off x="251595" y="2701546"/>
                <a:ext cx="962915" cy="1052014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100" dirty="0">
                    <a:latin typeface="+mn-lt"/>
                    <a:ea typeface="+mn-ea"/>
                  </a:rPr>
                  <a:t>Key Resource: Content</a:t>
                </a:r>
              </a:p>
              <a:p>
                <a:endParaRPr kumimoji="1" lang="en-US" sz="1100" dirty="0">
                  <a:latin typeface="+mn-lt"/>
                  <a:ea typeface="+mn-ea"/>
                </a:endParaRPr>
              </a:p>
              <a:p>
                <a:r>
                  <a:rPr lang="en-US" sz="1100" dirty="0">
                    <a:latin typeface="+mn-lt"/>
                    <a:ea typeface="+mn-ea"/>
                  </a:rPr>
                  <a:t>Cost: Production Costs</a:t>
                </a:r>
                <a:endParaRPr kumimoji="1" lang="en-US" sz="110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210180B1-B554-9EBB-06F0-3333EBE6CE6D}"/>
                </a:ext>
              </a:extLst>
            </p:cNvPr>
            <p:cNvSpPr txBox="1"/>
            <p:nvPr/>
          </p:nvSpPr>
          <p:spPr>
            <a:xfrm>
              <a:off x="1931618" y="2416341"/>
              <a:ext cx="1576874" cy="71346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100" dirty="0">
                  <a:latin typeface="+mn-lt"/>
                  <a:ea typeface="+mn-ea"/>
                </a:rPr>
                <a:t>Key Resource: Distribution Rights</a:t>
              </a:r>
            </a:p>
            <a:p>
              <a:endParaRPr kumimoji="1" lang="en-US" sz="1100" dirty="0">
                <a:latin typeface="+mn-lt"/>
                <a:ea typeface="+mn-ea"/>
              </a:endParaRPr>
            </a:p>
            <a:p>
              <a:r>
                <a:rPr lang="en-US" sz="1100" dirty="0">
                  <a:latin typeface="+mn-lt"/>
                  <a:ea typeface="+mn-ea"/>
                </a:rPr>
                <a:t>Cost: Distribution Costs</a:t>
              </a:r>
              <a:endParaRPr kumimoji="1" lang="en-US" sz="1100" dirty="0">
                <a:latin typeface="+mn-lt"/>
                <a:ea typeface="+mn-ea"/>
              </a:endParaRPr>
            </a:p>
          </p:txBody>
        </p:sp>
      </p:grpSp>
      <p:sp>
        <p:nvSpPr>
          <p:cNvPr id="180" name="Rectangle 3">
            <a:extLst>
              <a:ext uri="{FF2B5EF4-FFF2-40B4-BE49-F238E27FC236}">
                <a16:creationId xmlns:a16="http://schemas.microsoft.com/office/drawing/2014/main" id="{95940763-A564-F709-E711-2425038877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56" y="6473557"/>
            <a:ext cx="4176000" cy="4408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1pPr>
            <a:lvl2pPr marL="450850" indent="-196850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●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2pPr>
            <a:lvl3pPr marL="846138" indent="-179388" algn="l" rtl="0" eaLnBrk="1" fontAlgn="base" hangingPunct="1">
              <a:spcBef>
                <a:spcPts val="600"/>
              </a:spcBef>
              <a:spcAft>
                <a:spcPct val="0"/>
              </a:spcAft>
              <a:buSzPct val="9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3pPr>
            <a:lvl4pPr marL="1228725" indent="-158750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Font typeface="Arial" panose="020B0604020202020204" pitchFamily="34" charset="0"/>
              <a:buChar char="○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4pPr>
            <a:lvl5pPr marL="1617663" indent="-176213" algn="l" rtl="0" eaLnBrk="1" fontAlgn="base" hangingPunct="1">
              <a:spcBef>
                <a:spcPts val="600"/>
              </a:spcBef>
              <a:spcAft>
                <a:spcPct val="0"/>
              </a:spcAft>
              <a:buSzPct val="70000"/>
              <a:buChar char="–"/>
              <a:defRPr kumimoji="1" sz="1600">
                <a:solidFill>
                  <a:schemeClr val="tx1"/>
                </a:solidFill>
                <a:latin typeface="+mn-lt"/>
                <a:ea typeface="+mn-ea"/>
                <a:cs typeface="メイリオ" pitchFamily="50" charset="-128"/>
              </a:defRPr>
            </a:lvl5pPr>
            <a:lvl6pPr marL="2038350" indent="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None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7241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1813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63855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 dirty="0">
                <a:cs typeface="Arial" panose="020B0604020202020204" pitchFamily="34" charset="0"/>
              </a:rPr>
              <a:t>* OTT : Over-The-Top (Film content over the internet)</a:t>
            </a:r>
          </a:p>
          <a:p>
            <a:pPr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 dirty="0">
                <a:cs typeface="Arial" panose="020B0604020202020204" pitchFamily="34" charset="0"/>
              </a:rPr>
              <a:t>  Global Box Office Sales figures based on 2022 data</a:t>
            </a:r>
          </a:p>
          <a:p>
            <a:pPr defTabSz="538163">
              <a:lnSpc>
                <a:spcPct val="80000"/>
              </a:lnSpc>
              <a:spcBef>
                <a:spcPts val="0"/>
              </a:spcBef>
            </a:pPr>
            <a:r>
              <a:rPr lang="en-US" altLang="ja-JP" sz="800" dirty="0">
                <a:cs typeface="Arial" panose="020B0604020202020204" pitchFamily="34" charset="0"/>
              </a:rPr>
              <a:t> </a:t>
            </a:r>
            <a:endParaRPr lang="ja-JP" altLang="en-US" sz="800" dirty="0">
              <a:cs typeface="Arial" panose="020B0604020202020204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51C8A7FA-5244-0BC6-60A6-35E3B11C47ED}"/>
              </a:ext>
            </a:extLst>
          </p:cNvPr>
          <p:cNvSpPr/>
          <p:nvPr/>
        </p:nvSpPr>
        <p:spPr bwMode="auto">
          <a:xfrm>
            <a:off x="5615365" y="1714612"/>
            <a:ext cx="452061" cy="3017074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escription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5D2E0A6F-11DF-3897-5C03-9983CE659E97}"/>
              </a:ext>
            </a:extLst>
          </p:cNvPr>
          <p:cNvSpPr txBox="1"/>
          <p:nvPr/>
        </p:nvSpPr>
        <p:spPr>
          <a:xfrm>
            <a:off x="6107012" y="1714613"/>
            <a:ext cx="3547393" cy="3052562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74151"/>
                </a:solidFill>
                <a:latin typeface="+mn-lt"/>
                <a:ea typeface="ＭＳ Ｐゴシック"/>
              </a:rPr>
              <a:t>Movie Production Studios establish contractual relation with Distributors to distribute their original content 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74151"/>
                </a:solidFill>
                <a:latin typeface="+mn-lt"/>
                <a:ea typeface="ＭＳ Ｐゴシック"/>
              </a:rPr>
              <a:t>Distributors own the distribution rights to movie content which is shown across cinema or OTT platforms</a:t>
            </a:r>
          </a:p>
          <a:p>
            <a:pPr marL="568325" lvl="1" indent="-285750"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374151"/>
                </a:solidFill>
                <a:latin typeface="+mn-lt"/>
                <a:ea typeface="ＭＳ Ｐゴシック"/>
              </a:rPr>
              <a:t>Theatrical distributors distribute film content to movie theatre for a portion of revenue generated from ticket sales</a:t>
            </a:r>
          </a:p>
          <a:p>
            <a:pPr marL="568325" lvl="1" indent="-285750"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374151"/>
                </a:solidFill>
                <a:latin typeface="+mn-lt"/>
                <a:ea typeface="ＭＳ Ｐゴシック"/>
              </a:rPr>
              <a:t>OTT distributors make film content available to audience on demand on their platform in exchange for subscription fees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23EA5641-407F-F6F1-740B-2C78A8C9BE95}"/>
              </a:ext>
            </a:extLst>
          </p:cNvPr>
          <p:cNvCxnSpPr/>
          <p:nvPr/>
        </p:nvCxnSpPr>
        <p:spPr bwMode="auto">
          <a:xfrm flipH="1">
            <a:off x="5569255" y="4829166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5" name="Rectangle 184">
            <a:extLst>
              <a:ext uri="{FF2B5EF4-FFF2-40B4-BE49-F238E27FC236}">
                <a16:creationId xmlns:a16="http://schemas.microsoft.com/office/drawing/2014/main" id="{5E02C9B9-8341-368A-0C3F-F3E9D772930E}"/>
              </a:ext>
            </a:extLst>
          </p:cNvPr>
          <p:cNvSpPr/>
          <p:nvPr/>
        </p:nvSpPr>
        <p:spPr bwMode="auto">
          <a:xfrm>
            <a:off x="5615365" y="4926646"/>
            <a:ext cx="452061" cy="177871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Top Players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D90A5ECD-B91D-F5A7-FD68-249BDD6C3E3C}"/>
              </a:ext>
            </a:extLst>
          </p:cNvPr>
          <p:cNvSpPr txBox="1"/>
          <p:nvPr/>
        </p:nvSpPr>
        <p:spPr>
          <a:xfrm>
            <a:off x="6107012" y="4926646"/>
            <a:ext cx="3547393" cy="1544457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74151"/>
                </a:solidFill>
                <a:latin typeface="+mn-lt"/>
                <a:ea typeface="ＭＳ Ｐゴシック"/>
              </a:rPr>
              <a:t>Movie Production Studio: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74151"/>
                </a:solidFill>
                <a:latin typeface="+mn-lt"/>
                <a:ea typeface="ＭＳ Ｐゴシック"/>
              </a:rPr>
              <a:t>The Walt Disney Studios (Global Box Office Sales: $79B) 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74151"/>
                </a:solidFill>
                <a:latin typeface="+mn-lt"/>
                <a:ea typeface="ＭＳ Ｐゴシック"/>
              </a:rPr>
              <a:t>Warner Bros. Entertainment Inc. (Global box Office Sales: $48B)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74151"/>
                </a:solidFill>
                <a:latin typeface="+mn-lt"/>
                <a:ea typeface="ＭＳ Ｐゴシック"/>
              </a:rPr>
              <a:t>Universal City Studios LLC (Global Box Office Sales: $47.9B)</a:t>
            </a:r>
          </a:p>
        </p:txBody>
      </p:sp>
    </p:spTree>
    <p:extLst>
      <p:ext uri="{BB962C8B-B14F-4D97-AF65-F5344CB8AC3E}">
        <p14:creationId xmlns:p14="http://schemas.microsoft.com/office/powerpoint/2010/main" val="1184884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9482C-9809-78C2-DBBB-630F55969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ss Media &amp; Entertainment Domain (2/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6EE26B-A320-1117-C533-672582AFE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56" y="682674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 err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xxx</a:t>
            </a:r>
            <a:endParaRPr lang="ja-JP" altLang="en-US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C7583B3-2586-E76A-6CA8-5EE00955C31F}"/>
              </a:ext>
            </a:extLst>
          </p:cNvPr>
          <p:cNvGrpSpPr/>
          <p:nvPr/>
        </p:nvGrpSpPr>
        <p:grpSpPr>
          <a:xfrm>
            <a:off x="232681" y="1891930"/>
            <a:ext cx="4971780" cy="4581943"/>
            <a:chOff x="232681" y="1891930"/>
            <a:chExt cx="4971780" cy="4581943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8CD56CA-739E-FFC8-3391-AF8A828C11BD}"/>
                </a:ext>
              </a:extLst>
            </p:cNvPr>
            <p:cNvSpPr/>
            <p:nvPr/>
          </p:nvSpPr>
          <p:spPr bwMode="auto">
            <a:xfrm>
              <a:off x="2123441" y="1891930"/>
              <a:ext cx="3081020" cy="31905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B0CFEFC-3C64-163A-6E06-35182CF99097}"/>
                </a:ext>
              </a:extLst>
            </p:cNvPr>
            <p:cNvSpPr/>
            <p:nvPr/>
          </p:nvSpPr>
          <p:spPr bwMode="auto">
            <a:xfrm>
              <a:off x="3450209" y="2355179"/>
              <a:ext cx="1643761" cy="126803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1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EDE135B7-BE7D-C471-8D4B-C552FBE8878B}"/>
                </a:ext>
              </a:extLst>
            </p:cNvPr>
            <p:cNvSpPr txBox="1"/>
            <p:nvPr/>
          </p:nvSpPr>
          <p:spPr>
            <a:xfrm>
              <a:off x="3581584" y="2395165"/>
              <a:ext cx="1421062" cy="221018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200" b="1" dirty="0">
                  <a:solidFill>
                    <a:srgbClr val="FF0000"/>
                  </a:solidFill>
                  <a:latin typeface="+mn-lt"/>
                  <a:ea typeface="+mn-ea"/>
                </a:rPr>
                <a:t>In-House Producer</a:t>
              </a:r>
              <a:endParaRPr kumimoji="1" lang="en-US" sz="1200" b="1" dirty="0">
                <a:solidFill>
                  <a:srgbClr val="FF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549AFF8-EC6F-3339-9655-AD89A946630B}"/>
                </a:ext>
              </a:extLst>
            </p:cNvPr>
            <p:cNvGrpSpPr/>
            <p:nvPr/>
          </p:nvGrpSpPr>
          <p:grpSpPr>
            <a:xfrm>
              <a:off x="2981057" y="6064853"/>
              <a:ext cx="1311058" cy="409020"/>
              <a:chOff x="8494869" y="5919393"/>
              <a:chExt cx="1311058" cy="785971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C5A03A19-CCC4-1619-1E8F-7BFA37864BC2}"/>
                  </a:ext>
                </a:extLst>
              </p:cNvPr>
              <p:cNvSpPr/>
              <p:nvPr/>
            </p:nvSpPr>
            <p:spPr bwMode="auto">
              <a:xfrm>
                <a:off x="8494869" y="5919393"/>
                <a:ext cx="1311058" cy="785971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8D17EDA9-1791-E364-7E75-1AB06709E60E}"/>
                  </a:ext>
                </a:extLst>
              </p:cNvPr>
              <p:cNvSpPr txBox="1"/>
              <p:nvPr/>
            </p:nvSpPr>
            <p:spPr>
              <a:xfrm>
                <a:off x="8742921" y="6093798"/>
                <a:ext cx="1018876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lang="en-US" sz="1400" b="1" dirty="0">
                    <a:latin typeface="+mn-lt"/>
                    <a:ea typeface="+mn-ea"/>
                  </a:rPr>
                  <a:t>Audience</a:t>
                </a:r>
                <a:endParaRPr kumimoji="1" lang="en-US" sz="110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BCDE966-E97A-791B-8865-231AF678F16A}"/>
                </a:ext>
              </a:extLst>
            </p:cNvPr>
            <p:cNvSpPr txBox="1"/>
            <p:nvPr/>
          </p:nvSpPr>
          <p:spPr>
            <a:xfrm>
              <a:off x="3047352" y="1906177"/>
              <a:ext cx="1382390" cy="25179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400" b="1" dirty="0">
                  <a:latin typeface="+mn-lt"/>
                  <a:ea typeface="+mn-ea"/>
                </a:rPr>
                <a:t>OTT Distributor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DD97CC9-B18D-CDFE-4F1E-82756C8FFA00}"/>
                </a:ext>
              </a:extLst>
            </p:cNvPr>
            <p:cNvSpPr/>
            <p:nvPr/>
          </p:nvSpPr>
          <p:spPr bwMode="auto">
            <a:xfrm>
              <a:off x="232681" y="3670227"/>
              <a:ext cx="1102411" cy="143774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ED8D9F-E166-3C70-0511-75B76D48672E}"/>
                </a:ext>
              </a:extLst>
            </p:cNvPr>
            <p:cNvSpPr txBox="1"/>
            <p:nvPr/>
          </p:nvSpPr>
          <p:spPr>
            <a:xfrm>
              <a:off x="261146" y="3670227"/>
              <a:ext cx="1018876" cy="25179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kumimoji="1" lang="en-US" sz="1400" b="1" dirty="0">
                  <a:solidFill>
                    <a:schemeClr val="tx2"/>
                  </a:solidFill>
                  <a:latin typeface="+mn-lt"/>
                  <a:ea typeface="+mn-ea"/>
                </a:rPr>
                <a:t>Producer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A85338A-BC6A-8865-3ACB-A00D60BA4342}"/>
                </a:ext>
              </a:extLst>
            </p:cNvPr>
            <p:cNvGrpSpPr/>
            <p:nvPr/>
          </p:nvGrpSpPr>
          <p:grpSpPr>
            <a:xfrm>
              <a:off x="2285333" y="3896998"/>
              <a:ext cx="2773698" cy="944242"/>
              <a:chOff x="7671397" y="3652791"/>
              <a:chExt cx="1311058" cy="159873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E880E46-8B0F-F359-E1DE-64A52A76CA80}"/>
                  </a:ext>
                </a:extLst>
              </p:cNvPr>
              <p:cNvSpPr/>
              <p:nvPr/>
            </p:nvSpPr>
            <p:spPr bwMode="auto">
              <a:xfrm>
                <a:off x="7671397" y="3673241"/>
                <a:ext cx="1311058" cy="157828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200" b="1" i="0" u="none" strike="noStrike" cap="none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053767D-DD50-D5B3-911B-CFC1EB598A88}"/>
                  </a:ext>
                </a:extLst>
              </p:cNvPr>
              <p:cNvSpPr txBox="1"/>
              <p:nvPr/>
            </p:nvSpPr>
            <p:spPr>
              <a:xfrm>
                <a:off x="7737435" y="3652791"/>
                <a:ext cx="1228482" cy="660826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lang="en-US" sz="1200" b="1" dirty="0">
                    <a:latin typeface="+mn-lt"/>
                    <a:ea typeface="+mn-ea"/>
                  </a:rPr>
                  <a:t>OTT Streaming Platform</a:t>
                </a:r>
                <a:endParaRPr kumimoji="1" lang="en-US" sz="1200" b="1" dirty="0">
                  <a:latin typeface="+mn-lt"/>
                  <a:ea typeface="+mn-ea"/>
                </a:endParaRPr>
              </a:p>
              <a:p>
                <a:endParaRPr kumimoji="1" lang="en-US" sz="105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79C5BB0-C600-D55F-B82B-A9A00C8AEEFB}"/>
                </a:ext>
              </a:extLst>
            </p:cNvPr>
            <p:cNvSpPr/>
            <p:nvPr/>
          </p:nvSpPr>
          <p:spPr bwMode="auto">
            <a:xfrm>
              <a:off x="2425044" y="4298816"/>
              <a:ext cx="1290976" cy="443364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sz="1400" b="0" i="0" u="none" strike="noStrike" cap="none" normalizeH="0" baseline="0" dirty="0">
                  <a:ln>
                    <a:noFill/>
                  </a:ln>
                  <a:effectLst/>
                  <a:latin typeface="+mn-lt"/>
                  <a:ea typeface="+mn-ea"/>
                </a:rPr>
                <a:t>Third-Party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400" dirty="0">
                  <a:latin typeface="+mn-lt"/>
                  <a:ea typeface="+mn-ea"/>
                </a:rPr>
                <a:t>C</a:t>
              </a:r>
              <a:r>
                <a:rPr kumimoji="1" lang="en-US" sz="1400" b="0" i="0" u="none" strike="noStrike" cap="none" normalizeH="0" baseline="0" dirty="0">
                  <a:ln>
                    <a:noFill/>
                  </a:ln>
                  <a:effectLst/>
                  <a:latin typeface="+mn-lt"/>
                  <a:ea typeface="+mn-ea"/>
                </a:rPr>
                <a:t>ontent</a:t>
              </a:r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D2F292FA-DBB0-7D71-CD12-522D228FCF5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66619" y="5073289"/>
              <a:ext cx="0" cy="973262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4A1A2FEA-3767-E982-CBC7-B79186FE185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833636" y="5082519"/>
              <a:ext cx="0" cy="973262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rgbClr val="33CC33"/>
              </a:solidFill>
              <a:prstDash val="dash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2CD81BEB-94FE-3DD6-8D92-A857459F936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35092" y="4439757"/>
              <a:ext cx="1089952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C4300AE6-141B-795F-01F7-3C717197825C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335092" y="4666049"/>
              <a:ext cx="788348" cy="0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rgbClr val="33CC33"/>
              </a:solidFill>
              <a:prstDash val="dash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F1FFF29-9510-B4A6-AAE0-FF1F1FACC38A}"/>
                </a:ext>
              </a:extLst>
            </p:cNvPr>
            <p:cNvGrpSpPr/>
            <p:nvPr/>
          </p:nvGrpSpPr>
          <p:grpSpPr>
            <a:xfrm>
              <a:off x="4017458" y="4267230"/>
              <a:ext cx="1131782" cy="474952"/>
              <a:chOff x="3578791" y="3949065"/>
              <a:chExt cx="1593028" cy="390908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74FC006-B08A-C260-8F1C-EF5BDDFA5D19}"/>
                  </a:ext>
                </a:extLst>
              </p:cNvPr>
              <p:cNvSpPr/>
              <p:nvPr/>
            </p:nvSpPr>
            <p:spPr bwMode="auto">
              <a:xfrm>
                <a:off x="3578791" y="3975064"/>
                <a:ext cx="1374203" cy="364909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301D4BE1-AC57-48CD-A990-EC769481884D}"/>
                  </a:ext>
                </a:extLst>
              </p:cNvPr>
              <p:cNvSpPr txBox="1"/>
              <p:nvPr/>
            </p:nvSpPr>
            <p:spPr>
              <a:xfrm>
                <a:off x="3797611" y="3949065"/>
                <a:ext cx="1374208" cy="251795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400" dirty="0">
                    <a:latin typeface="+mn-lt"/>
                    <a:ea typeface="+mn-ea"/>
                  </a:rPr>
                  <a:t>Original Content</a:t>
                </a:r>
              </a:p>
            </p:txBody>
          </p:sp>
        </p:grp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BEAD008C-1622-290C-8367-0605B7119C0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38793" y="3623212"/>
              <a:ext cx="0" cy="664081"/>
            </a:xfrm>
            <a:prstGeom prst="straightConnector1">
              <a:avLst/>
            </a:prstGeom>
            <a:solidFill>
              <a:srgbClr val="FF660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A635195-BCF6-2392-0F0E-694BA74849D6}"/>
                </a:ext>
              </a:extLst>
            </p:cNvPr>
            <p:cNvSpPr/>
            <p:nvPr/>
          </p:nvSpPr>
          <p:spPr bwMode="auto">
            <a:xfrm>
              <a:off x="3519625" y="2652075"/>
              <a:ext cx="1504415" cy="892349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3399B56E-A326-7D3A-ACC4-1E3EF0518574}"/>
                </a:ext>
              </a:extLst>
            </p:cNvPr>
            <p:cNvSpPr txBox="1"/>
            <p:nvPr/>
          </p:nvSpPr>
          <p:spPr>
            <a:xfrm>
              <a:off x="3605412" y="2642048"/>
              <a:ext cx="1305445" cy="882737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kumimoji="1" lang="en-US" sz="1100" dirty="0">
                  <a:latin typeface="+mn-lt"/>
                  <a:ea typeface="+mn-ea"/>
                </a:rPr>
                <a:t>Key Resource: Content</a:t>
              </a:r>
            </a:p>
            <a:p>
              <a:endParaRPr kumimoji="1" lang="en-US" sz="1100" dirty="0">
                <a:latin typeface="+mn-lt"/>
                <a:ea typeface="+mn-ea"/>
              </a:endParaRPr>
            </a:p>
            <a:p>
              <a:r>
                <a:rPr lang="en-US" sz="1100" dirty="0">
                  <a:latin typeface="+mn-lt"/>
                  <a:ea typeface="+mn-ea"/>
                </a:rPr>
                <a:t>Cost: Production Costs</a:t>
              </a:r>
              <a:endParaRPr kumimoji="1" lang="en-US" sz="1100" dirty="0">
                <a:latin typeface="+mn-lt"/>
                <a:ea typeface="+mn-ea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542FE65-F3DA-1FE9-7233-BBAC63A17A5C}"/>
                </a:ext>
              </a:extLst>
            </p:cNvPr>
            <p:cNvSpPr txBox="1"/>
            <p:nvPr/>
          </p:nvSpPr>
          <p:spPr>
            <a:xfrm>
              <a:off x="1474803" y="4210412"/>
              <a:ext cx="654839" cy="19024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n-lt"/>
                  <a:ea typeface="+mn-ea"/>
                </a:rPr>
                <a:t>Contract</a:t>
              </a:r>
              <a:endParaRPr kumimoji="1" lang="en-US" sz="100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89500D4-D836-53A0-2B18-EED9F010C19E}"/>
                </a:ext>
              </a:extLst>
            </p:cNvPr>
            <p:cNvSpPr txBox="1"/>
            <p:nvPr/>
          </p:nvSpPr>
          <p:spPr>
            <a:xfrm>
              <a:off x="1574375" y="4656502"/>
              <a:ext cx="355484" cy="20562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100" dirty="0">
                  <a:solidFill>
                    <a:schemeClr val="tx2"/>
                  </a:solidFill>
                  <a:latin typeface="+mn-lt"/>
                  <a:ea typeface="+mn-ea"/>
                </a:rPr>
                <a:t>Fees</a:t>
              </a:r>
              <a:endParaRPr kumimoji="1" lang="en-US" sz="110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DD85F94-83A5-2DBD-C3FF-C76E6791A6EB}"/>
                </a:ext>
              </a:extLst>
            </p:cNvPr>
            <p:cNvSpPr txBox="1"/>
            <p:nvPr/>
          </p:nvSpPr>
          <p:spPr>
            <a:xfrm rot="16200000">
              <a:off x="3490770" y="5461720"/>
              <a:ext cx="865250" cy="205629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r>
                <a:rPr lang="en-US" sz="1100" dirty="0">
                  <a:solidFill>
                    <a:schemeClr val="tx2"/>
                  </a:solidFill>
                  <a:latin typeface="+mn-lt"/>
                  <a:ea typeface="+mn-ea"/>
                </a:rPr>
                <a:t>Subscription</a:t>
              </a:r>
              <a:endParaRPr kumimoji="1" lang="en-US" sz="110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A0D88AEA-EFAC-7709-C468-EA5A72F64D61}"/>
                </a:ext>
              </a:extLst>
            </p:cNvPr>
            <p:cNvSpPr txBox="1"/>
            <p:nvPr/>
          </p:nvSpPr>
          <p:spPr>
            <a:xfrm rot="16200000">
              <a:off x="2904304" y="5377082"/>
              <a:ext cx="865250" cy="374906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tx2"/>
                  </a:solidFill>
                  <a:latin typeface="+mn-lt"/>
                  <a:ea typeface="+mn-ea"/>
                </a:rPr>
                <a:t>On Demand Content</a:t>
              </a:r>
              <a:endParaRPr kumimoji="1" lang="en-US" sz="110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4C71C17B-61F4-D4A2-E6B3-999A8580F5A7}"/>
                </a:ext>
              </a:extLst>
            </p:cNvPr>
            <p:cNvGrpSpPr/>
            <p:nvPr/>
          </p:nvGrpSpPr>
          <p:grpSpPr>
            <a:xfrm>
              <a:off x="275696" y="3950315"/>
              <a:ext cx="999200" cy="1093399"/>
              <a:chOff x="275696" y="4086244"/>
              <a:chExt cx="999200" cy="1093399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AB578EDD-816F-35BB-FE77-B370CEF9990D}"/>
                  </a:ext>
                </a:extLst>
              </p:cNvPr>
              <p:cNvSpPr/>
              <p:nvPr/>
            </p:nvSpPr>
            <p:spPr bwMode="auto">
              <a:xfrm>
                <a:off x="275696" y="4086245"/>
                <a:ext cx="999200" cy="1093398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30DE5CE-97D0-A9EF-1F20-C64724617098}"/>
                  </a:ext>
                </a:extLst>
              </p:cNvPr>
              <p:cNvSpPr txBox="1"/>
              <p:nvPr/>
            </p:nvSpPr>
            <p:spPr>
              <a:xfrm>
                <a:off x="281735" y="4086244"/>
                <a:ext cx="962915" cy="1052014"/>
              </a:xfrm>
              <a:prstGeom prst="rect">
                <a:avLst/>
              </a:prstGeom>
              <a:noFill/>
            </p:spPr>
            <p:txBody>
              <a:bodyPr wrap="square" lIns="36000" tIns="36000" rIns="36000" bIns="0" rtlCol="0">
                <a:spAutoFit/>
              </a:bodyPr>
              <a:lstStyle/>
              <a:p>
                <a:r>
                  <a:rPr kumimoji="1" lang="en-US" sz="1100" dirty="0">
                    <a:latin typeface="+mn-lt"/>
                    <a:ea typeface="+mn-ea"/>
                  </a:rPr>
                  <a:t>Key Resource: Content</a:t>
                </a:r>
              </a:p>
              <a:p>
                <a:endParaRPr kumimoji="1" lang="en-US" sz="1100" dirty="0">
                  <a:latin typeface="+mn-lt"/>
                  <a:ea typeface="+mn-ea"/>
                </a:endParaRPr>
              </a:p>
              <a:p>
                <a:r>
                  <a:rPr lang="en-US" sz="1100" dirty="0">
                    <a:latin typeface="+mn-lt"/>
                    <a:ea typeface="+mn-ea"/>
                  </a:rPr>
                  <a:t>Cost: Production Costs</a:t>
                </a:r>
                <a:endParaRPr kumimoji="1" lang="en-US" sz="11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BD486A96-D003-5D54-FCF3-3E0CCB22CB3B}"/>
                </a:ext>
              </a:extLst>
            </p:cNvPr>
            <p:cNvGrpSpPr/>
            <p:nvPr/>
          </p:nvGrpSpPr>
          <p:grpSpPr>
            <a:xfrm>
              <a:off x="269446" y="5484752"/>
              <a:ext cx="1588839" cy="785496"/>
              <a:chOff x="196318" y="4671886"/>
              <a:chExt cx="1588839" cy="785496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BBB1BA90-A7E0-EE38-B7B5-489B70C5AC35}"/>
                  </a:ext>
                </a:extLst>
              </p:cNvPr>
              <p:cNvSpPr/>
              <p:nvPr/>
            </p:nvSpPr>
            <p:spPr bwMode="auto">
              <a:xfrm>
                <a:off x="196318" y="4671886"/>
                <a:ext cx="1588839" cy="78549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36000" tIns="36000" rIns="3600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40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+mn-ea"/>
                </a:endParaRPr>
              </a:p>
            </p:txBody>
          </p: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95DEC2E5-D931-7774-8E61-A893FB413B95}"/>
                  </a:ext>
                </a:extLst>
              </p:cNvPr>
              <p:cNvGrpSpPr/>
              <p:nvPr/>
            </p:nvGrpSpPr>
            <p:grpSpPr>
              <a:xfrm>
                <a:off x="286112" y="4758062"/>
                <a:ext cx="1320413" cy="251795"/>
                <a:chOff x="286112" y="4758062"/>
                <a:chExt cx="1320413" cy="251795"/>
              </a:xfrm>
            </p:grpSpPr>
            <p:cxnSp>
              <p:nvCxnSpPr>
                <p:cNvPr id="96" name="Straight Arrow Connector 95">
                  <a:extLst>
                    <a:ext uri="{FF2B5EF4-FFF2-40B4-BE49-F238E27FC236}">
                      <a16:creationId xmlns:a16="http://schemas.microsoft.com/office/drawing/2014/main" id="{A03BFEC8-8410-5FA8-FB0E-5B595A5CB686}"/>
                    </a:ext>
                  </a:extLst>
                </p:cNvPr>
                <p:cNvCxnSpPr/>
                <p:nvPr/>
              </p:nvCxnSpPr>
              <p:spPr bwMode="auto">
                <a:xfrm>
                  <a:off x="286112" y="4915267"/>
                  <a:ext cx="327346" cy="0"/>
                </a:xfrm>
                <a:prstGeom prst="straightConnector1">
                  <a:avLst/>
                </a:prstGeom>
                <a:solidFill>
                  <a:srgbClr val="FF6600"/>
                </a:solidFill>
                <a:ln w="19050" cap="flat" cmpd="sng" algn="ctr">
                  <a:solidFill>
                    <a:srgbClr val="33CC33"/>
                  </a:solidFill>
                  <a:prstDash val="dash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ADD2F03A-248E-4589-650F-6877D8519786}"/>
                    </a:ext>
                  </a:extLst>
                </p:cNvPr>
                <p:cNvSpPr txBox="1"/>
                <p:nvPr/>
              </p:nvSpPr>
              <p:spPr>
                <a:xfrm>
                  <a:off x="641986" y="4758062"/>
                  <a:ext cx="964539" cy="251795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r>
                    <a:rPr kumimoji="1" lang="en-US" sz="1400" dirty="0">
                      <a:latin typeface="+mn-lt"/>
                      <a:ea typeface="+mn-ea"/>
                    </a:rPr>
                    <a:t>: Revenue</a:t>
                  </a:r>
                </a:p>
              </p:txBody>
            </p:sp>
          </p:grp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A0CFD9F6-E358-BA79-E303-29141873A996}"/>
                  </a:ext>
                </a:extLst>
              </p:cNvPr>
              <p:cNvGrpSpPr/>
              <p:nvPr/>
            </p:nvGrpSpPr>
            <p:grpSpPr>
              <a:xfrm>
                <a:off x="286112" y="5077453"/>
                <a:ext cx="1330573" cy="251795"/>
                <a:chOff x="286112" y="5077453"/>
                <a:chExt cx="1330573" cy="251795"/>
              </a:xfrm>
            </p:grpSpPr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E9354C47-6FC0-73AD-FE2F-068495A7017B}"/>
                    </a:ext>
                  </a:extLst>
                </p:cNvPr>
                <p:cNvSpPr txBox="1"/>
                <p:nvPr/>
              </p:nvSpPr>
              <p:spPr>
                <a:xfrm>
                  <a:off x="652146" y="5077453"/>
                  <a:ext cx="964539" cy="251795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0" rtlCol="0">
                  <a:spAutoFit/>
                </a:bodyPr>
                <a:lstStyle/>
                <a:p>
                  <a:r>
                    <a:rPr kumimoji="1" lang="en-US" sz="1400" dirty="0">
                      <a:latin typeface="+mn-lt"/>
                      <a:ea typeface="+mn-ea"/>
                    </a:rPr>
                    <a:t>: Content</a:t>
                  </a:r>
                </a:p>
              </p:txBody>
            </p:sp>
            <p:cxnSp>
              <p:nvCxnSpPr>
                <p:cNvPr id="95" name="Straight Arrow Connector 94">
                  <a:extLst>
                    <a:ext uri="{FF2B5EF4-FFF2-40B4-BE49-F238E27FC236}">
                      <a16:creationId xmlns:a16="http://schemas.microsoft.com/office/drawing/2014/main" id="{60EBD623-275F-1F67-CA09-068362CD367B}"/>
                    </a:ext>
                  </a:extLst>
                </p:cNvPr>
                <p:cNvCxnSpPr/>
                <p:nvPr/>
              </p:nvCxnSpPr>
              <p:spPr bwMode="auto">
                <a:xfrm>
                  <a:off x="286112" y="5203350"/>
                  <a:ext cx="327346" cy="0"/>
                </a:xfrm>
                <a:prstGeom prst="straightConnector1">
                  <a:avLst/>
                </a:prstGeom>
                <a:solidFill>
                  <a:srgbClr val="FF6600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grpSp>
        <p:nvGrpSpPr>
          <p:cNvPr id="99" name="グループ化 3">
            <a:extLst>
              <a:ext uri="{FF2B5EF4-FFF2-40B4-BE49-F238E27FC236}">
                <a16:creationId xmlns:a16="http://schemas.microsoft.com/office/drawing/2014/main" id="{E9967969-1481-D538-75F0-CF81427076B8}"/>
              </a:ext>
            </a:extLst>
          </p:cNvPr>
          <p:cNvGrpSpPr/>
          <p:nvPr/>
        </p:nvGrpSpPr>
        <p:grpSpPr>
          <a:xfrm>
            <a:off x="5615365" y="1317788"/>
            <a:ext cx="4056285" cy="299820"/>
            <a:chOff x="1016089" y="1463948"/>
            <a:chExt cx="2016000" cy="318925"/>
          </a:xfrm>
        </p:grpSpPr>
        <p:sp>
          <p:nvSpPr>
            <p:cNvPr id="100" name="Rectangle 2">
              <a:extLst>
                <a:ext uri="{FF2B5EF4-FFF2-40B4-BE49-F238E27FC236}">
                  <a16:creationId xmlns:a16="http://schemas.microsoft.com/office/drawing/2014/main" id="{75A11948-DF9E-5E7A-4C4A-82473A6F9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8398" y="1463948"/>
              <a:ext cx="351395" cy="318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Details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101" name="直線コネクタ 4">
              <a:extLst>
                <a:ext uri="{FF2B5EF4-FFF2-40B4-BE49-F238E27FC236}">
                  <a16:creationId xmlns:a16="http://schemas.microsoft.com/office/drawing/2014/main" id="{881CDB23-163C-FDFC-5534-97669D9029AA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02" name="Rectangle 101">
            <a:extLst>
              <a:ext uri="{FF2B5EF4-FFF2-40B4-BE49-F238E27FC236}">
                <a16:creationId xmlns:a16="http://schemas.microsoft.com/office/drawing/2014/main" id="{74EAB6AF-BE04-0ACA-93E5-1EF650900B86}"/>
              </a:ext>
            </a:extLst>
          </p:cNvPr>
          <p:cNvSpPr/>
          <p:nvPr/>
        </p:nvSpPr>
        <p:spPr bwMode="auto">
          <a:xfrm>
            <a:off x="5615365" y="1714612"/>
            <a:ext cx="452061" cy="3017074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escription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1E6B5D2-5279-5E1A-7C26-E0A4AB64235F}"/>
              </a:ext>
            </a:extLst>
          </p:cNvPr>
          <p:cNvSpPr txBox="1"/>
          <p:nvPr/>
        </p:nvSpPr>
        <p:spPr>
          <a:xfrm>
            <a:off x="6107012" y="1714613"/>
            <a:ext cx="3547393" cy="3052562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rgbClr val="374151"/>
                </a:solidFill>
                <a:latin typeface="+mn-lt"/>
                <a:ea typeface="ＭＳ Ｐゴシック"/>
              </a:rPr>
              <a:t>Movie Production Studios establish contractual relation with Distributors to distribute their original content 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rgbClr val="374151"/>
                </a:solidFill>
                <a:latin typeface="+mn-lt"/>
                <a:ea typeface="ＭＳ Ｐゴシック"/>
              </a:rPr>
              <a:t>Distributors own the distribution rights to movie content which is shown across cinema or OTT platforms</a:t>
            </a:r>
          </a:p>
          <a:p>
            <a:pPr marL="568325" lvl="1" indent="-285750">
              <a:buFont typeface="Courier New" panose="02070309020205020404" pitchFamily="49" charset="0"/>
              <a:buChar char="o"/>
            </a:pPr>
            <a:r>
              <a:rPr lang="en-US" sz="1400" strike="sngStrike" dirty="0">
                <a:solidFill>
                  <a:srgbClr val="374151"/>
                </a:solidFill>
                <a:latin typeface="+mn-lt"/>
                <a:ea typeface="ＭＳ Ｐゴシック"/>
              </a:rPr>
              <a:t>Theatrical distributors distribute film content to movie theatre for a portion of revenue generated from ticket sales</a:t>
            </a:r>
          </a:p>
          <a:p>
            <a:pPr marL="568325" lvl="1" indent="-285750">
              <a:buFont typeface="Courier New" panose="02070309020205020404" pitchFamily="49" charset="0"/>
              <a:buChar char="o"/>
            </a:pPr>
            <a:r>
              <a:rPr lang="en-US" sz="1400" strike="sngStrike" dirty="0">
                <a:solidFill>
                  <a:srgbClr val="374151"/>
                </a:solidFill>
                <a:latin typeface="+mn-lt"/>
                <a:ea typeface="ＭＳ Ｐゴシック"/>
              </a:rPr>
              <a:t>OTT distributors make film content available to audience on demand on their platform in exchange for subscription fees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478FBB3D-B488-FF67-3954-DEAA9159E144}"/>
              </a:ext>
            </a:extLst>
          </p:cNvPr>
          <p:cNvCxnSpPr/>
          <p:nvPr/>
        </p:nvCxnSpPr>
        <p:spPr bwMode="auto">
          <a:xfrm flipH="1">
            <a:off x="5569255" y="4829166"/>
            <a:ext cx="4183678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620399C-DC63-8DE8-4176-0764EC45F60A}"/>
              </a:ext>
            </a:extLst>
          </p:cNvPr>
          <p:cNvSpPr/>
          <p:nvPr/>
        </p:nvSpPr>
        <p:spPr bwMode="auto">
          <a:xfrm>
            <a:off x="5615365" y="4926646"/>
            <a:ext cx="452061" cy="177871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Top Players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6C766CFB-2D58-FD45-EB63-ED990068374E}"/>
              </a:ext>
            </a:extLst>
          </p:cNvPr>
          <p:cNvSpPr txBox="1"/>
          <p:nvPr/>
        </p:nvSpPr>
        <p:spPr>
          <a:xfrm>
            <a:off x="6107012" y="4926646"/>
            <a:ext cx="3547393" cy="1544457"/>
          </a:xfrm>
          <a:prstGeom prst="rect">
            <a:avLst/>
          </a:prstGeom>
          <a:noFill/>
        </p:spPr>
        <p:txBody>
          <a:bodyPr wrap="square" lIns="36000" tIns="36000" rIns="36000" bIns="0" rtlCol="0" anchor="t">
            <a:spAutoFit/>
          </a:bodyPr>
          <a:lstStyle/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rgbClr val="374151"/>
                </a:solidFill>
                <a:latin typeface="+mn-lt"/>
                <a:ea typeface="ＭＳ Ｐゴシック"/>
              </a:rPr>
              <a:t>Movie Production Studio: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rgbClr val="374151"/>
                </a:solidFill>
                <a:latin typeface="+mn-lt"/>
                <a:ea typeface="ＭＳ Ｐゴシック"/>
              </a:rPr>
              <a:t>The Walt Disney Studios (Global Box Office Sales: $79B) 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rgbClr val="374151"/>
                </a:solidFill>
                <a:latin typeface="+mn-lt"/>
                <a:ea typeface="ＭＳ Ｐゴシック"/>
              </a:rPr>
              <a:t>Warner Bros. Entertainment Inc. (Global box Office Sales: $48B)</a:t>
            </a:r>
          </a:p>
          <a:p>
            <a:pPr marL="630238" lvl="1" indent="-173038">
              <a:buFont typeface="Arial" panose="020B0604020202020204" pitchFamily="34" charset="0"/>
              <a:buChar char="•"/>
            </a:pPr>
            <a:r>
              <a:rPr lang="en-US" sz="1400" strike="sngStrike" dirty="0">
                <a:solidFill>
                  <a:srgbClr val="374151"/>
                </a:solidFill>
                <a:latin typeface="+mn-lt"/>
                <a:ea typeface="ＭＳ Ｐゴシック"/>
              </a:rPr>
              <a:t>Universal City Studios LLC (Global Box Office Sales: $47.9B)</a:t>
            </a:r>
          </a:p>
        </p:txBody>
      </p:sp>
      <p:grpSp>
        <p:nvGrpSpPr>
          <p:cNvPr id="107" name="グループ化 3">
            <a:extLst>
              <a:ext uri="{FF2B5EF4-FFF2-40B4-BE49-F238E27FC236}">
                <a16:creationId xmlns:a16="http://schemas.microsoft.com/office/drawing/2014/main" id="{C98C65A8-E9E5-2EF4-704C-C6543E3E511D}"/>
              </a:ext>
            </a:extLst>
          </p:cNvPr>
          <p:cNvGrpSpPr/>
          <p:nvPr/>
        </p:nvGrpSpPr>
        <p:grpSpPr>
          <a:xfrm>
            <a:off x="162561" y="1304685"/>
            <a:ext cx="5103122" cy="318924"/>
            <a:chOff x="1016089" y="1458279"/>
            <a:chExt cx="2016000" cy="324598"/>
          </a:xfrm>
        </p:grpSpPr>
        <p:sp>
          <p:nvSpPr>
            <p:cNvPr id="108" name="Rectangle 2">
              <a:extLst>
                <a:ext uri="{FF2B5EF4-FFF2-40B4-BE49-F238E27FC236}">
                  <a16:creationId xmlns:a16="http://schemas.microsoft.com/office/drawing/2014/main" id="{D98E4217-6882-C917-44E2-82DDDD4B8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886" y="1458279"/>
              <a:ext cx="636419" cy="324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b" anchorCtr="0">
              <a:spAutoFit/>
            </a:bodyPr>
            <a:lstStyle>
              <a:lvl1pPr>
                <a:spcBef>
                  <a:spcPct val="30000"/>
                </a:spcBef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476250" indent="-285750">
                <a:spcBef>
                  <a:spcPct val="30000"/>
                </a:spcBef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889000" indent="-222250">
                <a:spcBef>
                  <a:spcPct val="30000"/>
                </a:spcBef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414463" indent="-247650">
                <a:spcBef>
                  <a:spcPct val="30000"/>
                </a:spcBef>
                <a:buSzPct val="70000"/>
                <a:buFont typeface="Wingdings" panose="05000000000000000000" pitchFamily="2" charset="2"/>
                <a:buChar char="l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1833563" indent="-228600">
                <a:spcBef>
                  <a:spcPct val="30000"/>
                </a:spcBef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2907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7479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2051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662363" indent="-228600" eaLnBrk="0" fontAlgn="base" hangingPunct="0">
                <a:spcBef>
                  <a:spcPct val="30000"/>
                </a:spcBef>
                <a:spcAft>
                  <a:spcPct val="0"/>
                </a:spcAft>
                <a:buSzPct val="70000"/>
                <a:buChar char="–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A4A4A"/>
                  </a:solidFill>
                  <a:effectLst/>
                  <a:uLnTx/>
                  <a:uFillTx/>
                  <a:latin typeface="+mj-lt"/>
                  <a:ea typeface="Meiryo UI"/>
                </a:rPr>
                <a:t>Business Model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+mj-lt"/>
                <a:ea typeface="Meiryo UI"/>
              </a:endParaRPr>
            </a:p>
          </p:txBody>
        </p:sp>
        <p:cxnSp>
          <p:nvCxnSpPr>
            <p:cNvPr id="109" name="直線コネクタ 4">
              <a:extLst>
                <a:ext uri="{FF2B5EF4-FFF2-40B4-BE49-F238E27FC236}">
                  <a16:creationId xmlns:a16="http://schemas.microsoft.com/office/drawing/2014/main" id="{6CD97BCE-8A68-31B0-4115-6A33DA4C4D79}"/>
                </a:ext>
              </a:extLst>
            </p:cNvPr>
            <p:cNvCxnSpPr/>
            <p:nvPr/>
          </p:nvCxnSpPr>
          <p:spPr bwMode="auto">
            <a:xfrm>
              <a:off x="1016089" y="1782873"/>
              <a:ext cx="2016000" cy="0"/>
            </a:xfrm>
            <a:prstGeom prst="line">
              <a:avLst/>
            </a:prstGeom>
            <a:solidFill>
              <a:srgbClr val="FF66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976946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ADDBD3-7A20-6F38-ADFC-203FE1B87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35938"/>
          </a:xfrm>
        </p:spPr>
        <p:txBody>
          <a:bodyPr/>
          <a:lstStyle/>
          <a:p>
            <a:r>
              <a:rPr lang="en-US" dirty="0"/>
              <a:t>Data pipeli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8E2E6C-591B-2532-3244-CFBEB3D97303}"/>
              </a:ext>
            </a:extLst>
          </p:cNvPr>
          <p:cNvSpPr/>
          <p:nvPr/>
        </p:nvSpPr>
        <p:spPr bwMode="auto">
          <a:xfrm>
            <a:off x="670218" y="1626778"/>
            <a:ext cx="1666762" cy="327392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D889D8-F5A6-C97A-9028-43293FE71624}"/>
              </a:ext>
            </a:extLst>
          </p:cNvPr>
          <p:cNvSpPr/>
          <p:nvPr/>
        </p:nvSpPr>
        <p:spPr bwMode="auto">
          <a:xfrm>
            <a:off x="144242" y="1613878"/>
            <a:ext cx="452061" cy="328671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Activities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8A33A6B-1114-137B-5FEF-F28593A92B78}"/>
              </a:ext>
            </a:extLst>
          </p:cNvPr>
          <p:cNvSpPr/>
          <p:nvPr/>
        </p:nvSpPr>
        <p:spPr bwMode="auto">
          <a:xfrm>
            <a:off x="5996448" y="1627899"/>
            <a:ext cx="1670093" cy="327281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C2A5787-E9FE-3F54-31E8-A8A32278A8CC}"/>
              </a:ext>
            </a:extLst>
          </p:cNvPr>
          <p:cNvSpPr/>
          <p:nvPr/>
        </p:nvSpPr>
        <p:spPr bwMode="auto">
          <a:xfrm>
            <a:off x="2448341" y="1626778"/>
            <a:ext cx="1674240" cy="327392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E22BBCF-7641-59BC-D983-6FF39AB6B025}"/>
              </a:ext>
            </a:extLst>
          </p:cNvPr>
          <p:cNvSpPr/>
          <p:nvPr/>
        </p:nvSpPr>
        <p:spPr bwMode="auto">
          <a:xfrm>
            <a:off x="4220246" y="1627615"/>
            <a:ext cx="1681794" cy="327281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7BC25BA-267F-42D5-E179-6DCB3660A00D}"/>
              </a:ext>
            </a:extLst>
          </p:cNvPr>
          <p:cNvSpPr/>
          <p:nvPr/>
        </p:nvSpPr>
        <p:spPr bwMode="auto">
          <a:xfrm>
            <a:off x="7770085" y="1627900"/>
            <a:ext cx="1670093" cy="327281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3C56FD9-2EA9-BEF4-F1AC-398314F8D198}"/>
              </a:ext>
            </a:extLst>
          </p:cNvPr>
          <p:cNvCxnSpPr/>
          <p:nvPr/>
        </p:nvCxnSpPr>
        <p:spPr bwMode="auto">
          <a:xfrm flipV="1">
            <a:off x="2397682" y="5400326"/>
            <a:ext cx="0" cy="1193752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5D1EBB1-D891-B8F6-3B8F-DEB018AC6A8B}"/>
              </a:ext>
            </a:extLst>
          </p:cNvPr>
          <p:cNvCxnSpPr/>
          <p:nvPr/>
        </p:nvCxnSpPr>
        <p:spPr bwMode="auto">
          <a:xfrm flipV="1">
            <a:off x="7765420" y="5400326"/>
            <a:ext cx="0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D84FD24-EEBB-6C07-A276-F3F83800DCC7}"/>
              </a:ext>
            </a:extLst>
          </p:cNvPr>
          <p:cNvCxnSpPr/>
          <p:nvPr/>
        </p:nvCxnSpPr>
        <p:spPr bwMode="auto">
          <a:xfrm flipH="1" flipV="1">
            <a:off x="5965208" y="5400326"/>
            <a:ext cx="10966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E749042-19EE-B922-89AD-0A4363E64D3F}"/>
              </a:ext>
            </a:extLst>
          </p:cNvPr>
          <p:cNvCxnSpPr/>
          <p:nvPr/>
        </p:nvCxnSpPr>
        <p:spPr bwMode="auto">
          <a:xfrm flipH="1" flipV="1">
            <a:off x="4180658" y="5379041"/>
            <a:ext cx="6270" cy="1226054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3BF135E0-8D5C-E824-DC4F-E0B8023292B0}"/>
              </a:ext>
            </a:extLst>
          </p:cNvPr>
          <p:cNvSpPr/>
          <p:nvPr/>
        </p:nvSpPr>
        <p:spPr bwMode="auto">
          <a:xfrm>
            <a:off x="144242" y="5085794"/>
            <a:ext cx="452061" cy="1667232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4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Timelin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F8D7A68-8890-56DA-2DC5-9095A27AADDB}"/>
              </a:ext>
            </a:extLst>
          </p:cNvPr>
          <p:cNvSpPr txBox="1"/>
          <p:nvPr/>
        </p:nvSpPr>
        <p:spPr>
          <a:xfrm>
            <a:off x="714695" y="1622819"/>
            <a:ext cx="1634620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Identif</a:t>
            </a:r>
            <a:r>
              <a:rPr kumimoji="1" lang="en-US" sz="1400">
                <a:latin typeface="+mn-lt"/>
                <a:ea typeface="+mn-ea"/>
              </a:rPr>
              <a:t>ying </a:t>
            </a:r>
            <a:r>
              <a:rPr lang="en-US" sz="1400" b="1">
                <a:latin typeface="+mn-lt"/>
                <a:ea typeface="+mn-ea"/>
              </a:rPr>
              <a:t>B</a:t>
            </a:r>
            <a:r>
              <a:rPr kumimoji="1" lang="en-US" sz="1400" b="1">
                <a:latin typeface="+mn-lt"/>
                <a:ea typeface="+mn-ea"/>
              </a:rPr>
              <a:t>usiness Proble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Breaking down business problem into </a:t>
            </a:r>
            <a:r>
              <a:rPr lang="en-US" sz="1400" b="1">
                <a:latin typeface="+mn-lt"/>
                <a:ea typeface="+mn-ea"/>
              </a:rPr>
              <a:t>Key Questions </a:t>
            </a:r>
            <a:r>
              <a:rPr lang="en-US" sz="1400">
                <a:latin typeface="+mn-lt"/>
                <a:ea typeface="+mn-ea"/>
              </a:rPr>
              <a:t>to be answered </a:t>
            </a:r>
          </a:p>
          <a:p>
            <a:endParaRPr kumimoji="1" lang="en-US" sz="1400">
              <a:latin typeface="+mn-lt"/>
              <a:ea typeface="+mn-ea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A80B7CAF-CBD3-547F-8771-B49203EFDA02}"/>
              </a:ext>
            </a:extLst>
          </p:cNvPr>
          <p:cNvCxnSpPr/>
          <p:nvPr/>
        </p:nvCxnSpPr>
        <p:spPr bwMode="auto">
          <a:xfrm flipH="1">
            <a:off x="180637" y="5007955"/>
            <a:ext cx="9487844" cy="0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253AD0D3-4785-BD66-93EC-C2369DB15E3E}"/>
              </a:ext>
            </a:extLst>
          </p:cNvPr>
          <p:cNvSpPr/>
          <p:nvPr/>
        </p:nvSpPr>
        <p:spPr bwMode="auto">
          <a:xfrm>
            <a:off x="5998055" y="1628050"/>
            <a:ext cx="1670093" cy="28009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0E19FA-A503-4BB4-1309-FE812B2A0083}"/>
              </a:ext>
            </a:extLst>
          </p:cNvPr>
          <p:cNvSpPr txBox="1"/>
          <p:nvPr/>
        </p:nvSpPr>
        <p:spPr>
          <a:xfrm>
            <a:off x="6022902" y="1622819"/>
            <a:ext cx="1652774" cy="175990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Model development for video game recommendatio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Assessment of  user efficiency </a:t>
            </a:r>
            <a:endParaRPr lang="en-US" sz="1400" b="1">
              <a:latin typeface="+mn-lt"/>
              <a:ea typeface="+mn-ea"/>
            </a:endParaRP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</a:p>
          <a:p>
            <a:endParaRPr lang="en-US" sz="1400">
              <a:latin typeface="+mn-lt"/>
              <a:ea typeface="+mn-ea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47479F3-9607-4581-8142-1D09D147583D}"/>
              </a:ext>
            </a:extLst>
          </p:cNvPr>
          <p:cNvSpPr txBox="1"/>
          <p:nvPr/>
        </p:nvSpPr>
        <p:spPr>
          <a:xfrm>
            <a:off x="2997035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2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BDA10210-5F4C-9A7B-ACC5-34A0DF6E7188}"/>
              </a:ext>
            </a:extLst>
          </p:cNvPr>
          <p:cNvSpPr txBox="1"/>
          <p:nvPr/>
        </p:nvSpPr>
        <p:spPr>
          <a:xfrm>
            <a:off x="4811887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3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962B4B26-64CC-79DB-2B4A-211E5C7FEC1C}"/>
              </a:ext>
            </a:extLst>
          </p:cNvPr>
          <p:cNvSpPr txBox="1"/>
          <p:nvPr/>
        </p:nvSpPr>
        <p:spPr>
          <a:xfrm>
            <a:off x="6626739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4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05E9642-0443-4E3A-BF85-B808DD4CA586}"/>
              </a:ext>
            </a:extLst>
          </p:cNvPr>
          <p:cNvSpPr txBox="1"/>
          <p:nvPr/>
        </p:nvSpPr>
        <p:spPr>
          <a:xfrm>
            <a:off x="8441591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5</a:t>
            </a:r>
          </a:p>
        </p:txBody>
      </p:sp>
      <p:pic>
        <p:nvPicPr>
          <p:cNvPr id="32" name="Graphic 31" descr="Badge 1 outline">
            <a:extLst>
              <a:ext uri="{FF2B5EF4-FFF2-40B4-BE49-F238E27FC236}">
                <a16:creationId xmlns:a16="http://schemas.microsoft.com/office/drawing/2014/main" id="{47334B4F-4322-D7B4-99B1-B4765BB6C0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3370" y="1060887"/>
            <a:ext cx="203565" cy="187586"/>
          </a:xfrm>
          <a:prstGeom prst="rect">
            <a:avLst/>
          </a:prstGeom>
        </p:spPr>
      </p:pic>
      <p:pic>
        <p:nvPicPr>
          <p:cNvPr id="33" name="Graphic 32" descr="Badge 4 outline">
            <a:extLst>
              <a:ext uri="{FF2B5EF4-FFF2-40B4-BE49-F238E27FC236}">
                <a16:creationId xmlns:a16="http://schemas.microsoft.com/office/drawing/2014/main" id="{9886B12F-4C2D-761E-FCC6-2239DB73A8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86512" y="1148800"/>
            <a:ext cx="203565" cy="187586"/>
          </a:xfrm>
          <a:prstGeom prst="rect">
            <a:avLst/>
          </a:prstGeom>
        </p:spPr>
      </p:pic>
      <p:pic>
        <p:nvPicPr>
          <p:cNvPr id="34" name="Graphic 33" descr="Badge 5 outline">
            <a:extLst>
              <a:ext uri="{FF2B5EF4-FFF2-40B4-BE49-F238E27FC236}">
                <a16:creationId xmlns:a16="http://schemas.microsoft.com/office/drawing/2014/main" id="{B2E45DCC-FF10-8FD1-4369-017CC908AA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99927" y="1148800"/>
            <a:ext cx="203565" cy="187586"/>
          </a:xfrm>
          <a:prstGeom prst="rect">
            <a:avLst/>
          </a:prstGeom>
        </p:spPr>
      </p:pic>
      <p:pic>
        <p:nvPicPr>
          <p:cNvPr id="35" name="Graphic 34" descr="Badge 3 outline">
            <a:extLst>
              <a:ext uri="{FF2B5EF4-FFF2-40B4-BE49-F238E27FC236}">
                <a16:creationId xmlns:a16="http://schemas.microsoft.com/office/drawing/2014/main" id="{7D577EC4-A2DD-AD24-E454-B239F095612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01326" y="1049341"/>
            <a:ext cx="203565" cy="187586"/>
          </a:xfrm>
          <a:prstGeom prst="rect">
            <a:avLst/>
          </a:prstGeom>
        </p:spPr>
      </p:pic>
      <p:pic>
        <p:nvPicPr>
          <p:cNvPr id="36" name="Graphic 35" descr="Badge outline">
            <a:extLst>
              <a:ext uri="{FF2B5EF4-FFF2-40B4-BE49-F238E27FC236}">
                <a16:creationId xmlns:a16="http://schemas.microsoft.com/office/drawing/2014/main" id="{64A5C6D0-36EF-0864-CC16-CBD82913197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62293" y="1058279"/>
            <a:ext cx="203565" cy="187586"/>
          </a:xfrm>
          <a:prstGeom prst="rect">
            <a:avLst/>
          </a:prstGeom>
        </p:spPr>
      </p:pic>
      <p:sp>
        <p:nvSpPr>
          <p:cNvPr id="42" name="Pentagon 3">
            <a:extLst>
              <a:ext uri="{FF2B5EF4-FFF2-40B4-BE49-F238E27FC236}">
                <a16:creationId xmlns:a16="http://schemas.microsoft.com/office/drawing/2014/main" id="{07901F46-999D-9599-80A5-952C25E4934D}"/>
              </a:ext>
            </a:extLst>
          </p:cNvPr>
          <p:cNvSpPr/>
          <p:nvPr/>
        </p:nvSpPr>
        <p:spPr bwMode="auto">
          <a:xfrm>
            <a:off x="669886" y="826096"/>
            <a:ext cx="2001526" cy="696020"/>
          </a:xfrm>
          <a:prstGeom prst="homePlate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Milestone 1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Project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etails &amp; Design</a:t>
            </a:r>
          </a:p>
        </p:txBody>
      </p:sp>
      <p:sp>
        <p:nvSpPr>
          <p:cNvPr id="43" name="Chevron 6">
            <a:extLst>
              <a:ext uri="{FF2B5EF4-FFF2-40B4-BE49-F238E27FC236}">
                <a16:creationId xmlns:a16="http://schemas.microsoft.com/office/drawing/2014/main" id="{5429FFFC-21E5-9AB6-653F-4E9EB0272F10}"/>
              </a:ext>
            </a:extLst>
          </p:cNvPr>
          <p:cNvSpPr/>
          <p:nvPr/>
        </p:nvSpPr>
        <p:spPr bwMode="auto">
          <a:xfrm>
            <a:off x="2442471" y="826095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 2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Da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Acquisition </a:t>
            </a:r>
            <a:endParaRPr kumimoji="1" lang="en-US" sz="1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44" name="Chevron 6">
            <a:extLst>
              <a:ext uri="{FF2B5EF4-FFF2-40B4-BE49-F238E27FC236}">
                <a16:creationId xmlns:a16="http://schemas.microsoft.com/office/drawing/2014/main" id="{66A83041-8009-74B9-DC8D-760D13BCCD5D}"/>
              </a:ext>
            </a:extLst>
          </p:cNvPr>
          <p:cNvSpPr/>
          <p:nvPr/>
        </p:nvSpPr>
        <p:spPr bwMode="auto">
          <a:xfrm>
            <a:off x="4215058" y="826096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3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Data</a:t>
            </a:r>
            <a:r>
              <a:rPr lang="en-US" sz="1200">
                <a:solidFill>
                  <a:schemeClr val="bg1"/>
                </a:solidFill>
                <a:latin typeface="+mn-lt"/>
                <a:ea typeface="+mn-ea"/>
              </a:rPr>
              <a:t> </a:t>
            </a: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Analysis &amp;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Visualization</a:t>
            </a:r>
          </a:p>
        </p:txBody>
      </p:sp>
      <p:sp>
        <p:nvSpPr>
          <p:cNvPr id="45" name="Chevron 6">
            <a:extLst>
              <a:ext uri="{FF2B5EF4-FFF2-40B4-BE49-F238E27FC236}">
                <a16:creationId xmlns:a16="http://schemas.microsoft.com/office/drawing/2014/main" id="{8EC4A7CD-3F65-6DAB-0069-14CAF624F374}"/>
              </a:ext>
            </a:extLst>
          </p:cNvPr>
          <p:cNvSpPr/>
          <p:nvPr/>
        </p:nvSpPr>
        <p:spPr bwMode="auto">
          <a:xfrm>
            <a:off x="5987644" y="826095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4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 Model Creation &amp;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Evaluation</a:t>
            </a:r>
          </a:p>
        </p:txBody>
      </p:sp>
      <p:sp>
        <p:nvSpPr>
          <p:cNvPr id="46" name="Chevron 6">
            <a:extLst>
              <a:ext uri="{FF2B5EF4-FFF2-40B4-BE49-F238E27FC236}">
                <a16:creationId xmlns:a16="http://schemas.microsoft.com/office/drawing/2014/main" id="{732D6F40-6BB6-B61F-B5D4-6ED14664FB5E}"/>
              </a:ext>
            </a:extLst>
          </p:cNvPr>
          <p:cNvSpPr/>
          <p:nvPr/>
        </p:nvSpPr>
        <p:spPr bwMode="auto">
          <a:xfrm>
            <a:off x="7760231" y="826096"/>
            <a:ext cx="2001526" cy="696020"/>
          </a:xfrm>
          <a:prstGeom prst="chevron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>
                <a:solidFill>
                  <a:schemeClr val="bg1"/>
                </a:solidFill>
                <a:latin typeface="+mn-lt"/>
                <a:ea typeface="+mn-ea"/>
              </a:rPr>
              <a:t>Milestone</a:t>
            </a:r>
            <a:r>
              <a:rPr kumimoji="1" lang="en-US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5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    Project Presentation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</a:rPr>
              <a:t>&amp; Report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8D845CF-9E0C-B429-9775-0D484E01EA66}"/>
              </a:ext>
            </a:extLst>
          </p:cNvPr>
          <p:cNvGrpSpPr/>
          <p:nvPr/>
        </p:nvGrpSpPr>
        <p:grpSpPr>
          <a:xfrm>
            <a:off x="8303492" y="6307210"/>
            <a:ext cx="1234286" cy="245971"/>
            <a:chOff x="716857" y="5495797"/>
            <a:chExt cx="1727462" cy="18890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9DF18EF-88EE-27E8-C598-618AFC55A609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3B5E3E3-7C71-8E0A-4BC6-5A751E9DCC77}"/>
                </a:ext>
              </a:extLst>
            </p:cNvPr>
            <p:cNvSpPr txBox="1"/>
            <p:nvPr/>
          </p:nvSpPr>
          <p:spPr>
            <a:xfrm>
              <a:off x="1105865" y="5495797"/>
              <a:ext cx="1027830" cy="177065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5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2E73C8D-8DE8-D7B3-5353-0907A4D9DE80}"/>
              </a:ext>
            </a:extLst>
          </p:cNvPr>
          <p:cNvGrpSpPr/>
          <p:nvPr/>
        </p:nvGrpSpPr>
        <p:grpSpPr>
          <a:xfrm>
            <a:off x="5751977" y="6076962"/>
            <a:ext cx="2540548" cy="215549"/>
            <a:chOff x="716857" y="5516164"/>
            <a:chExt cx="1994265" cy="168537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5636ED2-C280-C3B9-4432-E5036C5D6EC7}"/>
                </a:ext>
              </a:extLst>
            </p:cNvPr>
            <p:cNvSpPr/>
            <p:nvPr/>
          </p:nvSpPr>
          <p:spPr bwMode="auto">
            <a:xfrm>
              <a:off x="716857" y="5519441"/>
              <a:ext cx="1994265" cy="16526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FE7F602-4980-9420-92B7-CC205D756A7D}"/>
                </a:ext>
              </a:extLst>
            </p:cNvPr>
            <p:cNvSpPr txBox="1"/>
            <p:nvPr/>
          </p:nvSpPr>
          <p:spPr>
            <a:xfrm>
              <a:off x="1276573" y="5516164"/>
              <a:ext cx="904817" cy="153674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4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63B5678-DD8B-845F-10A5-57D58B5E15CA}"/>
              </a:ext>
            </a:extLst>
          </p:cNvPr>
          <p:cNvGrpSpPr/>
          <p:nvPr/>
        </p:nvGrpSpPr>
        <p:grpSpPr>
          <a:xfrm>
            <a:off x="2393813" y="5845163"/>
            <a:ext cx="3933833" cy="201780"/>
            <a:chOff x="716857" y="5496900"/>
            <a:chExt cx="1727462" cy="187801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173DC67-D78A-36A1-8A6D-F09E1040DB16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70E9CF7-7C75-02A8-7605-4F15DBCAA5D3}"/>
                </a:ext>
              </a:extLst>
            </p:cNvPr>
            <p:cNvSpPr txBox="1"/>
            <p:nvPr/>
          </p:nvSpPr>
          <p:spPr>
            <a:xfrm>
              <a:off x="1311127" y="5496900"/>
              <a:ext cx="521621" cy="182096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3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65EA050-8FA9-F285-87A3-ADEABCA86E66}"/>
              </a:ext>
            </a:extLst>
          </p:cNvPr>
          <p:cNvGrpSpPr/>
          <p:nvPr/>
        </p:nvGrpSpPr>
        <p:grpSpPr>
          <a:xfrm>
            <a:off x="1475231" y="5627745"/>
            <a:ext cx="922450" cy="202626"/>
            <a:chOff x="716855" y="5497540"/>
            <a:chExt cx="1735059" cy="187161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2F1FAF7-4B96-54C1-AD0A-606B2F5C4346}"/>
                </a:ext>
              </a:extLst>
            </p:cNvPr>
            <p:cNvSpPr/>
            <p:nvPr/>
          </p:nvSpPr>
          <p:spPr bwMode="auto">
            <a:xfrm>
              <a:off x="716857" y="5503983"/>
              <a:ext cx="1727462" cy="1807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51C7185-6514-40E9-8673-1E963920E5D8}"/>
                </a:ext>
              </a:extLst>
            </p:cNvPr>
            <p:cNvSpPr txBox="1"/>
            <p:nvPr/>
          </p:nvSpPr>
          <p:spPr>
            <a:xfrm>
              <a:off x="716855" y="5497540"/>
              <a:ext cx="1735059" cy="175720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2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12F07E45-8ECE-FED8-3E02-EB6717A7F9B5}"/>
              </a:ext>
            </a:extLst>
          </p:cNvPr>
          <p:cNvSpPr/>
          <p:nvPr/>
        </p:nvSpPr>
        <p:spPr bwMode="auto">
          <a:xfrm>
            <a:off x="2449948" y="1626928"/>
            <a:ext cx="1674240" cy="2801877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3401B7-0B9A-64D3-FD38-0D7661AAC177}"/>
              </a:ext>
            </a:extLst>
          </p:cNvPr>
          <p:cNvSpPr txBox="1"/>
          <p:nvPr/>
        </p:nvSpPr>
        <p:spPr>
          <a:xfrm>
            <a:off x="2487129" y="1622819"/>
            <a:ext cx="1635451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Sourcing relevant data </a:t>
            </a:r>
            <a:r>
              <a:rPr lang="en-US" sz="1400">
                <a:latin typeface="+mn-lt"/>
                <a:ea typeface="+mn-ea"/>
              </a:rPr>
              <a:t>to address the identified business probl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Cross-validating datas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 b="1">
                <a:latin typeface="+mn-lt"/>
                <a:ea typeface="+mn-ea"/>
              </a:rPr>
              <a:t>Data Sources used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en-US" sz="1400">
              <a:latin typeface="+mn-lt"/>
              <a:ea typeface="+mn-ea"/>
            </a:endParaRPr>
          </a:p>
        </p:txBody>
      </p:sp>
      <p:pic>
        <p:nvPicPr>
          <p:cNvPr id="70" name="Picture 2">
            <a:extLst>
              <a:ext uri="{FF2B5EF4-FFF2-40B4-BE49-F238E27FC236}">
                <a16:creationId xmlns:a16="http://schemas.microsoft.com/office/drawing/2014/main" id="{6B4209CA-FC52-CFD1-8EC3-49D83F3BC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085" y="3583199"/>
            <a:ext cx="1132160" cy="43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F6D9D56-FA06-FE8C-4412-DDCF7A3B76C2}"/>
              </a:ext>
            </a:extLst>
          </p:cNvPr>
          <p:cNvSpPr/>
          <p:nvPr/>
        </p:nvSpPr>
        <p:spPr bwMode="auto">
          <a:xfrm>
            <a:off x="4222716" y="1628049"/>
            <a:ext cx="1681794" cy="28009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63BD26-9DB2-6690-DBEA-64A1A7872482}"/>
              </a:ext>
            </a:extLst>
          </p:cNvPr>
          <p:cNvSpPr txBox="1"/>
          <p:nvPr/>
        </p:nvSpPr>
        <p:spPr>
          <a:xfrm>
            <a:off x="4245050" y="1622819"/>
            <a:ext cx="1626801" cy="1975344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Exploratory Data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Evaluating Data Distribu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Data </a:t>
            </a:r>
            <a:r>
              <a:rPr lang="en-US" sz="1400">
                <a:latin typeface="+mn-lt"/>
                <a:ea typeface="+mn-ea"/>
              </a:rPr>
              <a:t>Preproces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sz="1400">
                <a:latin typeface="+mn-lt"/>
                <a:ea typeface="+mn-ea"/>
              </a:rPr>
              <a:t>Market Trend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  <a:endParaRPr kumimoji="1" lang="en-US" sz="1400" b="1">
              <a:latin typeface="+mn-lt"/>
              <a:ea typeface="+mn-ea"/>
            </a:endParaRPr>
          </a:p>
        </p:txBody>
      </p:sp>
      <p:pic>
        <p:nvPicPr>
          <p:cNvPr id="79" name="Picture 10">
            <a:extLst>
              <a:ext uri="{FF2B5EF4-FFF2-40B4-BE49-F238E27FC236}">
                <a16:creationId xmlns:a16="http://schemas.microsoft.com/office/drawing/2014/main" id="{56FD70D9-530E-AB96-5F32-222B4E4518D9}"/>
              </a:ext>
            </a:extLst>
          </p:cNvPr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326" y="3625212"/>
            <a:ext cx="536276" cy="465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Power BI - Microsoft Logo PNG Vector (SVG) Free Download">
            <a:extLst>
              <a:ext uri="{FF2B5EF4-FFF2-40B4-BE49-F238E27FC236}">
                <a16:creationId xmlns:a16="http://schemas.microsoft.com/office/drawing/2014/main" id="{BA245991-5EA3-2C08-82C9-CBEB383EA6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1226" y="3622040"/>
            <a:ext cx="1074163" cy="420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8472552-2D94-AAC1-41F8-A98A2B57E85A}"/>
              </a:ext>
            </a:extLst>
          </p:cNvPr>
          <p:cNvCxnSpPr>
            <a:cxnSpLocks/>
          </p:cNvCxnSpPr>
          <p:nvPr/>
        </p:nvCxnSpPr>
        <p:spPr bwMode="auto">
          <a:xfrm flipV="1">
            <a:off x="670218" y="5379041"/>
            <a:ext cx="0" cy="1226054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F643AD0D-A7E7-36A0-3794-C9DED26CD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5375" y="4224319"/>
            <a:ext cx="1257300" cy="323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2244FCFA-415A-2FC0-BD3E-55C740F16A3F}"/>
              </a:ext>
            </a:extLst>
          </p:cNvPr>
          <p:cNvGrpSpPr/>
          <p:nvPr/>
        </p:nvGrpSpPr>
        <p:grpSpPr>
          <a:xfrm>
            <a:off x="4205956" y="4163119"/>
            <a:ext cx="3460585" cy="719602"/>
            <a:chOff x="4221388" y="3965940"/>
            <a:chExt cx="3534836" cy="104129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902FDB3-294B-A754-02B2-525D196A01F0}"/>
                </a:ext>
              </a:extLst>
            </p:cNvPr>
            <p:cNvSpPr/>
            <p:nvPr/>
          </p:nvSpPr>
          <p:spPr bwMode="auto">
            <a:xfrm>
              <a:off x="4221388" y="3965940"/>
              <a:ext cx="3534836" cy="10412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solidFill>
                    <a:schemeClr val="tx2"/>
                  </a:solidFill>
                  <a:prstDash val="dash"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024E302B-F66A-42CD-0225-0E4B41919E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5364" y="4163097"/>
              <a:ext cx="625392" cy="784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820D8888-DB2B-2224-A89D-902B31953387}"/>
                </a:ext>
              </a:extLst>
            </p:cNvPr>
            <p:cNvSpPr/>
            <p:nvPr/>
          </p:nvSpPr>
          <p:spPr bwMode="auto">
            <a:xfrm>
              <a:off x="6553200" y="4411898"/>
              <a:ext cx="1066800" cy="263255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37" name="Arrow: Right 36">
              <a:extLst>
                <a:ext uri="{FF2B5EF4-FFF2-40B4-BE49-F238E27FC236}">
                  <a16:creationId xmlns:a16="http://schemas.microsoft.com/office/drawing/2014/main" id="{0405C641-19C0-804F-704E-3B2CF82A1DC2}"/>
                </a:ext>
              </a:extLst>
            </p:cNvPr>
            <p:cNvSpPr/>
            <p:nvPr/>
          </p:nvSpPr>
          <p:spPr bwMode="auto">
            <a:xfrm flipH="1" flipV="1">
              <a:off x="4368294" y="4411898"/>
              <a:ext cx="1066800" cy="263255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4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8450EA4A-CF1A-E6F0-A0FB-20952272DCD9}"/>
              </a:ext>
            </a:extLst>
          </p:cNvPr>
          <p:cNvSpPr/>
          <p:nvPr/>
        </p:nvSpPr>
        <p:spPr bwMode="auto">
          <a:xfrm>
            <a:off x="7771692" y="1628051"/>
            <a:ext cx="1670093" cy="280092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36000" tIns="36000" rIns="3600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4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+mn-lt"/>
              <a:ea typeface="+mn-e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88DB81-DF81-4FFA-7CF6-137C2BFAE673}"/>
              </a:ext>
            </a:extLst>
          </p:cNvPr>
          <p:cNvSpPr txBox="1"/>
          <p:nvPr/>
        </p:nvSpPr>
        <p:spPr>
          <a:xfrm>
            <a:off x="7826727" y="1628050"/>
            <a:ext cx="1564240" cy="1113570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latin typeface="+mn-lt"/>
                <a:ea typeface="+mn-ea"/>
              </a:rPr>
              <a:t>Preparation for final project report and pres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>
                <a:latin typeface="+mn-lt"/>
                <a:ea typeface="+mn-ea"/>
              </a:rPr>
              <a:t>Tools used:</a:t>
            </a:r>
          </a:p>
        </p:txBody>
      </p:sp>
      <p:pic>
        <p:nvPicPr>
          <p:cNvPr id="1046" name="Picture 22">
            <a:extLst>
              <a:ext uri="{FF2B5EF4-FFF2-40B4-BE49-F238E27FC236}">
                <a16:creationId xmlns:a16="http://schemas.microsoft.com/office/drawing/2014/main" id="{BF6B4C31-1FAA-7456-15A4-E822D95B2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4298" y="3833950"/>
            <a:ext cx="834765" cy="82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4C363E-8956-61DC-7AED-1A4D89D0CD8E}"/>
              </a:ext>
            </a:extLst>
          </p:cNvPr>
          <p:cNvSpPr txBox="1"/>
          <p:nvPr/>
        </p:nvSpPr>
        <p:spPr>
          <a:xfrm>
            <a:off x="1289302" y="5115480"/>
            <a:ext cx="636514" cy="221018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r>
              <a:rPr kumimoji="1" lang="en-US" sz="1200" b="1">
                <a:latin typeface="+mn-lt"/>
                <a:ea typeface="+mn-ea"/>
              </a:rPr>
              <a:t>Week 1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7D8EC22-D5DB-5D52-5EEB-FC3D961B92CF}"/>
              </a:ext>
            </a:extLst>
          </p:cNvPr>
          <p:cNvGrpSpPr/>
          <p:nvPr/>
        </p:nvGrpSpPr>
        <p:grpSpPr>
          <a:xfrm>
            <a:off x="669887" y="5398544"/>
            <a:ext cx="1443918" cy="206488"/>
            <a:chOff x="716858" y="5502265"/>
            <a:chExt cx="1564099" cy="19906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52F693B-2E26-34C3-BBC9-488E899AD1DD}"/>
                </a:ext>
              </a:extLst>
            </p:cNvPr>
            <p:cNvSpPr/>
            <p:nvPr/>
          </p:nvSpPr>
          <p:spPr bwMode="auto">
            <a:xfrm>
              <a:off x="716858" y="5503983"/>
              <a:ext cx="1564099" cy="1973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0" numCol="1" rtlCol="0" anchor="t" anchorCtr="1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050" b="0" i="0" u="none" strike="noStrike" cap="none" normalizeH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2E7C7EA-B737-736F-8FEB-446BA2001AA7}"/>
                </a:ext>
              </a:extLst>
            </p:cNvPr>
            <p:cNvSpPr txBox="1"/>
            <p:nvPr/>
          </p:nvSpPr>
          <p:spPr>
            <a:xfrm>
              <a:off x="972407" y="5502265"/>
              <a:ext cx="1055750" cy="183402"/>
            </a:xfrm>
            <a:prstGeom prst="rect">
              <a:avLst/>
            </a:prstGeom>
            <a:noFill/>
          </p:spPr>
          <p:txBody>
            <a:bodyPr wrap="square" lIns="36000" tIns="36000" rIns="36000" bIns="0" rtlCol="0">
              <a:spAutoFit/>
            </a:bodyPr>
            <a:lstStyle/>
            <a:p>
              <a:pPr algn="ctr"/>
              <a:r>
                <a:rPr lang="en-US" sz="1000">
                  <a:latin typeface="+mn-lt"/>
                  <a:ea typeface="+mn-ea"/>
                </a:rPr>
                <a:t>Milestone</a:t>
              </a:r>
              <a:r>
                <a:rPr kumimoji="1" lang="en-US" sz="1000">
                  <a:latin typeface="+mn-lt"/>
                  <a:ea typeface="+mn-ea"/>
                </a:rPr>
                <a:t> 1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00230051-6A9F-5AF4-C0A2-CFF5F2B67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357" y="6562786"/>
            <a:ext cx="3275318" cy="1902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000" b="1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ject Schedule:</a:t>
            </a:r>
            <a:r>
              <a:rPr lang="en-US" altLang="ja-JP" sz="100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March 16, 2023, to April 20, 2023</a:t>
            </a:r>
            <a:endParaRPr lang="ja-JP" altLang="en-US" sz="1000">
              <a:solidFill>
                <a:schemeClr val="bg2">
                  <a:lumMod val="50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BA91034-864C-8B5E-1E9F-7A4DB98FA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0109" y="3061878"/>
            <a:ext cx="511930" cy="635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C59EDC-27F4-AF99-FE50-8285E4EF8AB9}"/>
              </a:ext>
            </a:extLst>
          </p:cNvPr>
          <p:cNvCxnSpPr/>
          <p:nvPr/>
        </p:nvCxnSpPr>
        <p:spPr bwMode="auto">
          <a:xfrm flipV="1">
            <a:off x="9535200" y="5400326"/>
            <a:ext cx="0" cy="1204769"/>
          </a:xfrm>
          <a:prstGeom prst="line">
            <a:avLst/>
          </a:prstGeom>
          <a:solidFill>
            <a:srgbClr val="FF6600"/>
          </a:solidFill>
          <a:ln w="12700" cap="flat" cmpd="sng" algn="ctr">
            <a:solidFill>
              <a:schemeClr val="tx1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707133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9482C-9809-78C2-DBBB-630F55969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Build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6EE26B-A320-1117-C533-672582AFE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56" y="682674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 err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xxx</a:t>
            </a:r>
            <a:endParaRPr lang="ja-JP" altLang="en-US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749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9482C-9809-78C2-DBBB-630F55969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Board Walkthrough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6EE26B-A320-1117-C533-672582AFE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56" y="682674"/>
            <a:ext cx="9239794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0" bIns="0" anchor="t" anchorCtr="0">
            <a:spAutoFit/>
          </a:bodyPr>
          <a:lstStyle>
            <a:lvl1pPr>
              <a:spcBef>
                <a:spcPct val="30000"/>
              </a:spcBef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476250" indent="-285750">
              <a:spcBef>
                <a:spcPct val="30000"/>
              </a:spcBef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889000" indent="-222250">
              <a:spcBef>
                <a:spcPct val="30000"/>
              </a:spcBef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414463" indent="-247650">
              <a:spcBef>
                <a:spcPct val="30000"/>
              </a:spcBef>
              <a:buSzPct val="70000"/>
              <a:buFont typeface="Wingdings" panose="05000000000000000000" pitchFamily="2" charset="2"/>
              <a:buChar char="l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1833563" indent="-228600">
              <a:spcBef>
                <a:spcPct val="30000"/>
              </a:spcBef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2907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7479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2051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662363" indent="-228600" eaLnBrk="0" fontAlgn="base" hangingPunct="0">
              <a:spcBef>
                <a:spcPct val="30000"/>
              </a:spcBef>
              <a:spcAft>
                <a:spcPct val="0"/>
              </a:spcAft>
              <a:buSzPct val="70000"/>
              <a:buChar char="–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Bef>
                <a:spcPts val="0"/>
              </a:spcBef>
            </a:pPr>
            <a:r>
              <a:rPr lang="en-US" altLang="ja-JP" sz="1800" dirty="0" err="1">
                <a:solidFill>
                  <a:srgbClr val="21212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xxxx</a:t>
            </a:r>
            <a:endParaRPr lang="ja-JP" altLang="en-US" sz="1800" dirty="0">
              <a:solidFill>
                <a:srgbClr val="21212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778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4525F374-C4D2-E7C7-169F-7A411A1B85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248" y="2891929"/>
            <a:ext cx="3665505" cy="1074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34454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13B34-5ACF-8AF1-A369-F73B99667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2A81C2-CB9D-5E0D-1B45-AC1250F47E64}"/>
              </a:ext>
            </a:extLst>
          </p:cNvPr>
          <p:cNvSpPr txBox="1"/>
          <p:nvPr/>
        </p:nvSpPr>
        <p:spPr>
          <a:xfrm>
            <a:off x="457201" y="937549"/>
            <a:ext cx="8991599" cy="4591445"/>
          </a:xfrm>
          <a:prstGeom prst="rect">
            <a:avLst/>
          </a:prstGeom>
          <a:noFill/>
        </p:spPr>
        <p:txBody>
          <a:bodyPr wrap="square" lIns="36000" tIns="36000" rIns="36000" bIns="0" rtlCol="0">
            <a:spAutoFit/>
          </a:bodyPr>
          <a:lstStyle/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  <a:ea typeface="+mn-ea"/>
              </a:rPr>
              <a:t>Cheema, </a:t>
            </a:r>
            <a:r>
              <a:rPr lang="en-US" dirty="0" err="1">
                <a:latin typeface="+mn-lt"/>
                <a:ea typeface="+mn-ea"/>
              </a:rPr>
              <a:t>Ramish</a:t>
            </a:r>
            <a:r>
              <a:rPr lang="en-US" dirty="0">
                <a:latin typeface="+mn-lt"/>
                <a:ea typeface="+mn-ea"/>
              </a:rPr>
              <a:t>. (2022, November 14). 5 Biggest Movie Production Companies in the World. </a:t>
            </a:r>
            <a:r>
              <a:rPr lang="en-US" i="1" dirty="0">
                <a:latin typeface="+mn-lt"/>
                <a:ea typeface="+mn-ea"/>
              </a:rPr>
              <a:t>Insider Monkey</a:t>
            </a:r>
            <a:r>
              <a:rPr lang="en-US" dirty="0">
                <a:latin typeface="+mn-lt"/>
                <a:ea typeface="+mn-ea"/>
              </a:rPr>
              <a:t>. </a:t>
            </a:r>
            <a:r>
              <a:rPr lang="en-US" dirty="0">
                <a:solidFill>
                  <a:srgbClr val="0070C0"/>
                </a:solidFill>
                <a:latin typeface="+mn-lt"/>
                <a:ea typeface="+mn-ea"/>
                <a:hlinkClick r:id="rId2"/>
              </a:rPr>
              <a:t>https://www.insidermonkey.com/blog/5-biggest-movie-production-companies-in-the-world-1085847/?singlepage=1</a:t>
            </a:r>
            <a:r>
              <a:rPr lang="en-US" dirty="0">
                <a:solidFill>
                  <a:srgbClr val="0070C0"/>
                </a:solidFill>
                <a:latin typeface="+mn-lt"/>
                <a:ea typeface="+mn-ea"/>
              </a:rPr>
              <a:t> </a:t>
            </a: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latin typeface="+mn-lt"/>
                <a:ea typeface="+mn-ea"/>
              </a:rPr>
              <a:t>Violini</a:t>
            </a:r>
            <a:r>
              <a:rPr lang="en-US" dirty="0">
                <a:latin typeface="+mn-lt"/>
                <a:ea typeface="+mn-ea"/>
              </a:rPr>
              <a:t>, Marcello. (2023, October 15) Top 10 OTT Video Streaming Services 2023. </a:t>
            </a:r>
            <a:r>
              <a:rPr lang="en-US" dirty="0" err="1">
                <a:latin typeface="+mn-lt"/>
                <a:ea typeface="+mn-ea"/>
              </a:rPr>
              <a:t>Teyuto</a:t>
            </a:r>
            <a:r>
              <a:rPr lang="en-US" dirty="0">
                <a:latin typeface="+mn-lt"/>
                <a:ea typeface="+mn-ea"/>
              </a:rPr>
              <a:t>. </a:t>
            </a:r>
            <a:r>
              <a:rPr lang="en-US" dirty="0">
                <a:solidFill>
                  <a:srgbClr val="0070C0"/>
                </a:solidFill>
                <a:latin typeface="+mn-lt"/>
                <a:ea typeface="+mn-ea"/>
                <a:hlinkClick r:id="rId3"/>
              </a:rPr>
              <a:t>https://teyuto.com/blog/top-10-ott-video-streaming-services-2023#:~:text=Which%20ott%20platform%20has%20the,200%20million%20subscribers%20in%202023</a:t>
            </a:r>
            <a:r>
              <a:rPr lang="en-US" dirty="0">
                <a:solidFill>
                  <a:srgbClr val="0070C0"/>
                </a:solidFill>
                <a:latin typeface="+mn-lt"/>
                <a:ea typeface="+mn-ea"/>
              </a:rPr>
              <a:t> </a:t>
            </a: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  <a:ea typeface="+mn-ea"/>
              </a:rPr>
              <a:t>(2022 December 07). The Business Model in Film and Television Industries </a:t>
            </a:r>
            <a:r>
              <a:rPr lang="en-US" dirty="0">
                <a:solidFill>
                  <a:srgbClr val="0070C0"/>
                </a:solidFill>
                <a:latin typeface="+mn-lt"/>
                <a:ea typeface="+mn-ea"/>
                <a:hlinkClick r:id="rId4"/>
              </a:rPr>
              <a:t>https://www.storybiz.tech/entertainment/business-model-film-television/</a:t>
            </a:r>
            <a:r>
              <a:rPr lang="en-US" dirty="0">
                <a:solidFill>
                  <a:srgbClr val="0070C0"/>
                </a:solidFill>
                <a:latin typeface="+mn-lt"/>
                <a:ea typeface="+mn-ea"/>
              </a:rPr>
              <a:t> </a:t>
            </a: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trike="sngStrike" dirty="0">
                <a:latin typeface="+mn-lt"/>
                <a:ea typeface="+mn-ea"/>
              </a:rPr>
              <a:t>Makwana, Aman. (2022, December 26). Understanding Recommendation System and KNN with Project – Book Recommendation System. </a:t>
            </a:r>
            <a:r>
              <a:rPr lang="en-US" i="1" strike="sngStrike" dirty="0">
                <a:latin typeface="+mn-lt"/>
                <a:ea typeface="+mn-ea"/>
              </a:rPr>
              <a:t>Medium</a:t>
            </a:r>
            <a:r>
              <a:rPr lang="en-US" strike="sngStrike" dirty="0">
                <a:latin typeface="+mn-lt"/>
                <a:ea typeface="+mn-ea"/>
              </a:rPr>
              <a:t>. </a:t>
            </a:r>
            <a:r>
              <a:rPr lang="en-US" strike="sngStrike" dirty="0">
                <a:solidFill>
                  <a:srgbClr val="0070C0"/>
                </a:solidFill>
                <a:latin typeface="+mn-lt"/>
                <a:ea typeface="+mn-e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man-makwana101932.medium.com/understanding-recommendation-system-and-knn-with-project-book-recommendation-system-c648e47ff4f6</a:t>
            </a:r>
            <a:endParaRPr lang="en-US" strike="sngStrike" dirty="0">
              <a:solidFill>
                <a:srgbClr val="0070C0"/>
              </a:solidFill>
              <a:latin typeface="+mn-lt"/>
              <a:ea typeface="+mn-ea"/>
            </a:endParaRPr>
          </a:p>
          <a:p>
            <a:pPr marL="341313" lvl="1" indent="-3413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trike="sngStrike" dirty="0">
                <a:latin typeface="+mn-lt"/>
                <a:ea typeface="+mn-ea"/>
              </a:rPr>
              <a:t>Varun. (2020 September 27). Cosine similarity: How does it measure the similarity, </a:t>
            </a:r>
            <a:r>
              <a:rPr lang="en-US" strike="sngStrike" dirty="0" err="1">
                <a:latin typeface="+mn-lt"/>
                <a:ea typeface="+mn-ea"/>
              </a:rPr>
              <a:t>Maths</a:t>
            </a:r>
            <a:r>
              <a:rPr lang="en-US" strike="sngStrike" dirty="0">
                <a:latin typeface="+mn-lt"/>
                <a:ea typeface="+mn-ea"/>
              </a:rPr>
              <a:t> behind and usage in Python. </a:t>
            </a:r>
            <a:r>
              <a:rPr lang="en-US" i="1" strike="sngStrike" dirty="0">
                <a:latin typeface="+mn-lt"/>
                <a:ea typeface="+mn-ea"/>
              </a:rPr>
              <a:t>Toward Data Science.</a:t>
            </a:r>
            <a:r>
              <a:rPr lang="en-US" strike="sngStrike" dirty="0">
                <a:latin typeface="+mn-lt"/>
                <a:ea typeface="+mn-ea"/>
              </a:rPr>
              <a:t> </a:t>
            </a:r>
            <a:r>
              <a:rPr lang="en-US" strike="sngStrike" dirty="0">
                <a:solidFill>
                  <a:srgbClr val="0070C0"/>
                </a:solidFill>
                <a:latin typeface="+mn-lt"/>
                <a:ea typeface="+mn-ea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owardsdatascience.com/cosine-similarity-how-does-it-measure-the-similarity-maths-behind-and-usage-in-python-50ad30aad7db</a:t>
            </a:r>
            <a:endParaRPr lang="en-US" strike="sngStrike" dirty="0">
              <a:solidFill>
                <a:srgbClr val="0070C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62739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er.6">
  <a:themeElements>
    <a:clrScheme name="NSP（パワポ）">
      <a:dk1>
        <a:srgbClr val="4A4A4A"/>
      </a:dk1>
      <a:lt1>
        <a:srgbClr val="FFFFFF"/>
      </a:lt1>
      <a:dk2>
        <a:srgbClr val="202C5C"/>
      </a:dk2>
      <a:lt2>
        <a:srgbClr val="D8D8D8"/>
      </a:lt2>
      <a:accent1>
        <a:srgbClr val="E2F1FA"/>
      </a:accent1>
      <a:accent2>
        <a:srgbClr val="FFA29D"/>
      </a:accent2>
      <a:accent3>
        <a:srgbClr val="FFE5E5"/>
      </a:accent3>
      <a:accent4>
        <a:srgbClr val="4CA198"/>
      </a:accent4>
      <a:accent5>
        <a:srgbClr val="FED292"/>
      </a:accent5>
      <a:accent6>
        <a:srgbClr val="FFF659"/>
      </a:accent6>
      <a:hlink>
        <a:srgbClr val="949494"/>
      </a:hlink>
      <a:folHlink>
        <a:srgbClr val="4D80DD"/>
      </a:folHlink>
    </a:clrScheme>
    <a:fontScheme name="MeiryoUI+SegoeUI">
      <a:majorFont>
        <a:latin typeface="Segoe UI"/>
        <a:ea typeface="Meiryo UI"/>
        <a:cs typeface=""/>
      </a:majorFont>
      <a:minorFont>
        <a:latin typeface="Segoe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36000" tIns="36000" rIns="36000" bIns="0" numCol="1" rtlCol="0" anchor="ctr" anchorCtr="1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+mn-lt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66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none" lIns="36000" tIns="36000" rIns="36000" bIns="0" rtlCol="0">
        <a:spAutoFit/>
      </a:bodyPr>
      <a:lstStyle>
        <a:defPPr>
          <a:defRPr kumimoji="1" sz="1400" smtClean="0">
            <a:latin typeface="+mn-lt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FFFF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EAEAE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_Format（日）ver.6.pptx[読み取り専用]" id="{7FFEA576-6885-4989-B190-EB001D19C483}" vid="{8761501B-10DF-4685-9E7B-300B1BBB7122}"/>
    </a:ext>
  </a:extLst>
</a:theme>
</file>

<file path=ppt/theme/theme2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D02CC2A1BB31429574CC73F1FCB2D9" ma:contentTypeVersion="4" ma:contentTypeDescription="Create a new document." ma:contentTypeScope="" ma:versionID="737b84f1db21616d9febbcd1d5371aae">
  <xsd:schema xmlns:xsd="http://www.w3.org/2001/XMLSchema" xmlns:xs="http://www.w3.org/2001/XMLSchema" xmlns:p="http://schemas.microsoft.com/office/2006/metadata/properties" xmlns:ns2="88c58ba3-fe06-41ad-816e-a9796b35cd80" targetNamespace="http://schemas.microsoft.com/office/2006/metadata/properties" ma:root="true" ma:fieldsID="f840fa0bd85b662317b501b8025ee1a3" ns2:_="">
    <xsd:import namespace="88c58ba3-fe06-41ad-816e-a9796b35cd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c58ba3-fe06-41ad-816e-a9796b35cd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2EAACB-3B00-4754-831B-74B05002303B}">
  <ds:schemaRefs>
    <ds:schemaRef ds:uri="88c58ba3-fe06-41ad-816e-a9796b35cd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F236BE3-7A63-4CEC-AFF6-637E81E97F2E}">
  <ds:schemaRefs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88c58ba3-fe06-41ad-816e-a9796b35cd80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10CE112C-3B4D-4E46-939C-B6B2DF98AEA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0</TotalTime>
  <Words>882</Words>
  <Application>Microsoft Office PowerPoint</Application>
  <PresentationFormat>A4 Paper (210x297 mm)</PresentationFormat>
  <Paragraphs>155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メイリオ</vt:lpstr>
      <vt:lpstr>Meiryo UI</vt:lpstr>
      <vt:lpstr>ＭＳ Ｐゴシック</vt:lpstr>
      <vt:lpstr>Arial</vt:lpstr>
      <vt:lpstr>Calibri</vt:lpstr>
      <vt:lpstr>Courier New</vt:lpstr>
      <vt:lpstr>Quattrocento Sans</vt:lpstr>
      <vt:lpstr>Segoe UI</vt:lpstr>
      <vt:lpstr>Times New Roman</vt:lpstr>
      <vt:lpstr>ver.6</vt:lpstr>
      <vt:lpstr>think-cell スライド</vt:lpstr>
      <vt:lpstr>PowerPoint Presentation</vt:lpstr>
      <vt:lpstr>Case Background (WIP)</vt:lpstr>
      <vt:lpstr>Mass Media &amp; Entertainment Domain (1/2)</vt:lpstr>
      <vt:lpstr>Mass Media &amp; Entertainment Domain (2/2)</vt:lpstr>
      <vt:lpstr>Data pipeline</vt:lpstr>
      <vt:lpstr>Model Building</vt:lpstr>
      <vt:lpstr>Project Board Walkthrough</vt:lpstr>
      <vt:lpstr>PowerPoint Presentation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D Abhishek Natani  Jobin Joseph  Miraj Sinya  Olivia Deguit  Roger Mais  Rutvick Rajnibhai Savaliya</dc:title>
  <dc:creator>miraj sinya</dc:creator>
  <cp:lastModifiedBy>miraj sinya</cp:lastModifiedBy>
  <cp:revision>4</cp:revision>
  <cp:lastPrinted>2019-10-08T05:49:51Z</cp:lastPrinted>
  <dcterms:created xsi:type="dcterms:W3CDTF">2019-04-26T10:21:06Z</dcterms:created>
  <dcterms:modified xsi:type="dcterms:W3CDTF">2023-11-13T05:3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D02CC2A1BB31429574CC73F1FCB2D9</vt:lpwstr>
  </property>
  <property fmtid="{D5CDD505-2E9C-101B-9397-08002B2CF9AE}" pid="3" name="_dlc_DocIdItemGuid">
    <vt:lpwstr>28e469ef-458a-472d-9833-24589934583c</vt:lpwstr>
  </property>
  <property fmtid="{D5CDD505-2E9C-101B-9397-08002B2CF9AE}" pid="4" name="MediaServiceImageTags">
    <vt:lpwstr/>
  </property>
</Properties>
</file>